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33"/>
  </p:notesMasterIdLst>
  <p:sldIdLst>
    <p:sldId id="286" r:id="rId2"/>
    <p:sldId id="434" r:id="rId3"/>
    <p:sldId id="406" r:id="rId4"/>
    <p:sldId id="410" r:id="rId5"/>
    <p:sldId id="296" r:id="rId6"/>
    <p:sldId id="323" r:id="rId7"/>
    <p:sldId id="425" r:id="rId8"/>
    <p:sldId id="424" r:id="rId9"/>
    <p:sldId id="443" r:id="rId10"/>
    <p:sldId id="436" r:id="rId11"/>
    <p:sldId id="416" r:id="rId12"/>
    <p:sldId id="441" r:id="rId13"/>
    <p:sldId id="320" r:id="rId14"/>
    <p:sldId id="437" r:id="rId15"/>
    <p:sldId id="432" r:id="rId16"/>
    <p:sldId id="435" r:id="rId17"/>
    <p:sldId id="438" r:id="rId18"/>
    <p:sldId id="440" r:id="rId19"/>
    <p:sldId id="428" r:id="rId20"/>
    <p:sldId id="415" r:id="rId21"/>
    <p:sldId id="413" r:id="rId22"/>
    <p:sldId id="311" r:id="rId23"/>
    <p:sldId id="419" r:id="rId24"/>
    <p:sldId id="417" r:id="rId25"/>
    <p:sldId id="314" r:id="rId26"/>
    <p:sldId id="439" r:id="rId27"/>
    <p:sldId id="307" r:id="rId28"/>
    <p:sldId id="405" r:id="rId29"/>
    <p:sldId id="387" r:id="rId30"/>
    <p:sldId id="418" r:id="rId31"/>
    <p:sldId id="420" r:id="rId3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09">
          <p15:clr>
            <a:srgbClr val="A4A3A4"/>
          </p15:clr>
        </p15:guide>
        <p15:guide id="4" orient="horz" pos="543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rotta, Daniela" initials="PD" lastIdx="29" clrIdx="0">
    <p:extLst>
      <p:ext uri="{19B8F6BF-5375-455C-9EA6-DF929625EA0E}">
        <p15:presenceInfo xmlns:p15="http://schemas.microsoft.com/office/powerpoint/2012/main" userId="Perrotta, Daniela" providerId="None"/>
      </p:ext>
    </p:extLst>
  </p:cmAuthor>
  <p:cmAuthor id="2" name="Donzowa, Jessica" initials="DJ" lastIdx="22" clrIdx="1">
    <p:extLst>
      <p:ext uri="{19B8F6BF-5375-455C-9EA6-DF929625EA0E}">
        <p15:presenceInfo xmlns:p15="http://schemas.microsoft.com/office/powerpoint/2012/main" userId="S-1-5-21-1195586752-1210395121-930774774-180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C66"/>
    <a:srgbClr val="FFFFFF"/>
    <a:srgbClr val="00CC99"/>
    <a:srgbClr val="FF9999"/>
    <a:srgbClr val="99FFCC"/>
    <a:srgbClr val="F8F8F8"/>
    <a:srgbClr val="646464"/>
    <a:srgbClr val="F7F7F7"/>
    <a:srgbClr val="F1F1F1"/>
    <a:srgbClr val="8E1F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061" autoAdjust="0"/>
    <p:restoredTop sz="95766" autoAdjust="0"/>
  </p:normalViewPr>
  <p:slideViewPr>
    <p:cSldViewPr snapToGrid="0" showGuides="1">
      <p:cViewPr varScale="1">
        <p:scale>
          <a:sx n="114" d="100"/>
          <a:sy n="114" d="100"/>
        </p:scale>
        <p:origin x="664" y="168"/>
      </p:cViewPr>
      <p:guideLst>
        <p:guide orient="horz" pos="2160"/>
        <p:guide pos="3840"/>
        <p:guide orient="horz" pos="109"/>
        <p:guide orient="horz" pos="54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CD81E4-7440-4AD9-B8B9-D7EA2D712DF0}" type="datetimeFigureOut">
              <a:rPr lang="en-US" smtClean="0"/>
              <a:t>5/22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A1E27C-90AE-4DD3-BE21-49E857A76C0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1860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A1E27C-90AE-4DD3-BE21-49E857A76C0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657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A1E27C-90AE-4DD3-BE21-49E857A76C0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720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12818C-2F76-40F2-9982-D67000E6BAB3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80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A1E27C-90AE-4DD3-BE21-49E857A76C0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70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A1E27C-90AE-4DD3-BE21-49E857A76C0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3269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A1E27C-90AE-4DD3-BE21-49E857A76C05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5169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A1E27C-90AE-4DD3-BE21-49E857A76C05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0630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A1E27C-90AE-4DD3-BE21-49E857A76C0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3949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A1E27C-90AE-4DD3-BE21-49E857A76C0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9180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3192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BFCE7C1E-273D-4453-9EE5-F75E4F09BF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B5760-E5E7-4599-8A10-15F616D96D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8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070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6402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23200" y="2097088"/>
            <a:ext cx="3421063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8" y="2097088"/>
            <a:ext cx="680434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1C015194-955D-434E-9B0B-AE049C22E7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B5760-E5E7-4599-8A10-15F616D96D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0144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48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1"/>
            <a:ext cx="3451225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B6940B46-6AB4-41BD-B2C7-751717426B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B5760-E5E7-4599-8A10-15F616D96D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723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7739" y="2097087"/>
            <a:ext cx="10296524" cy="4319587"/>
          </a:xfrm>
        </p:spPr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b="0"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spcBef>
                <a:spcPts val="700"/>
              </a:spcBef>
              <a:defRPr sz="1400" b="0">
                <a:solidFill>
                  <a:schemeClr val="tx1"/>
                </a:solidFill>
              </a:defRPr>
            </a:lvl3pPr>
            <a:lvl4pPr marL="360000">
              <a:spcBef>
                <a:spcPts val="700"/>
              </a:spcBef>
              <a:defRPr sz="1400" b="1" kern="600" spc="40" baseline="0">
                <a:solidFill>
                  <a:schemeClr val="tx2"/>
                </a:solidFill>
              </a:defRPr>
            </a:lvl4pPr>
            <a:lvl5pPr marL="540000">
              <a:lnSpc>
                <a:spcPts val="2300"/>
              </a:lnSpc>
              <a:spcBef>
                <a:spcPts val="700"/>
              </a:spcBef>
              <a:defRPr sz="1400"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ADAC74-73DE-4B8B-83B8-C5F5FECEF8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B5760-E5E7-4599-8A10-15F616D96D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98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A2466404-0B59-4C21-A65C-277BDB6B35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B5760-E5E7-4599-8A10-15F616D96D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849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56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2" name="Slide Number Placeholder 6">
            <a:extLst>
              <a:ext uri="{FF2B5EF4-FFF2-40B4-BE49-F238E27FC236}">
                <a16:creationId xmlns:a16="http://schemas.microsoft.com/office/drawing/2014/main" id="{16FC830E-E603-449F-BEA6-9F9A505129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B5760-E5E7-4599-8A10-15F616D96D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571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362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2A1FBEC4-5A4C-48CB-B11D-5F338164FE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B5760-E5E7-4599-8A10-15F616D96D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913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4" imgH="385" progId="TCLayout.ActiveDocument.1">
                  <p:embed/>
                </p:oleObj>
              </mc:Choice>
              <mc:Fallback>
                <p:oleObj name="think-cell Folie" r:id="rId4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4805673" y="813262"/>
            <a:ext cx="6438587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6A0B71A2-E95C-43AA-AF98-E7A265D78E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B5760-E5E7-4599-8A10-15F616D96D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2224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384" imgH="385" progId="TCLayout.ActiveDocument.1">
                  <p:embed/>
                </p:oleObj>
              </mc:Choice>
              <mc:Fallback>
                <p:oleObj name="think-cell Folie" r:id="rId18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5EF9CD0-5D6F-42EE-8ED2-A91EE10B96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0B5760-E5E7-4599-8A10-15F616D96D6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1" r:id="rId2"/>
    <p:sldLayoutId id="2147483697" r:id="rId3"/>
    <p:sldLayoutId id="2147483702" r:id="rId4"/>
    <p:sldLayoutId id="2147483662" r:id="rId5"/>
    <p:sldLayoutId id="2147483703" r:id="rId6"/>
    <p:sldLayoutId id="2147483705" r:id="rId7"/>
    <p:sldLayoutId id="2147483704" r:id="rId8"/>
    <p:sldLayoutId id="2147483708" r:id="rId9"/>
    <p:sldLayoutId id="2147483664" r:id="rId10"/>
    <p:sldLayoutId id="2147483668" r:id="rId11"/>
    <p:sldLayoutId id="2147483698" r:id="rId12"/>
    <p:sldLayoutId id="2147483673" r:id="rId13"/>
    <p:sldLayoutId id="2147483663" r:id="rId14"/>
  </p:sldLayoutIdLst>
  <p:hf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20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openxmlformats.org/officeDocument/2006/relationships/image" Target="../media/image36.svg"/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12" Type="http://schemas.openxmlformats.org/officeDocument/2006/relationships/image" Target="../media/image35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9.png"/><Relationship Id="rId11" Type="http://schemas.openxmlformats.org/officeDocument/2006/relationships/image" Target="../media/image34.svg"/><Relationship Id="rId5" Type="http://schemas.openxmlformats.org/officeDocument/2006/relationships/image" Target="../media/image28.svg"/><Relationship Id="rId10" Type="http://schemas.openxmlformats.org/officeDocument/2006/relationships/image" Target="../media/image33.png"/><Relationship Id="rId4" Type="http://schemas.openxmlformats.org/officeDocument/2006/relationships/image" Target="../media/image27.png"/><Relationship Id="rId9" Type="http://schemas.openxmlformats.org/officeDocument/2006/relationships/image" Target="../media/image32.sv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sv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343B37-EE06-4616-AB08-B54C09945C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88182" cy="1166764"/>
          </a:xfrm>
        </p:spPr>
        <p:txBody>
          <a:bodyPr/>
          <a:lstStyle/>
          <a:p>
            <a:r>
              <a:rPr lang="en-US" dirty="0"/>
              <a:t>The Senegal Demographic Survey- Insights from a Facebook recruited survey in Senegal 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27F3131-70EE-48FF-8A76-9738A221078F}"/>
              </a:ext>
            </a:extLst>
          </p:cNvPr>
          <p:cNvSpPr txBox="1">
            <a:spLocks/>
          </p:cNvSpPr>
          <p:nvPr/>
        </p:nvSpPr>
        <p:spPr>
          <a:xfrm>
            <a:off x="1274618" y="3362764"/>
            <a:ext cx="9118914" cy="11667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2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900" b="0" i="0" kern="600" spc="100" baseline="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252000" algn="l" defTabSz="914400" rtl="0" eaLnBrk="1" latinLnBrk="0" hangingPunct="1">
              <a:lnSpc>
                <a:spcPts val="1600"/>
              </a:lnSpc>
              <a:spcBef>
                <a:spcPts val="300"/>
              </a:spcBef>
              <a:spcAft>
                <a:spcPts val="0"/>
              </a:spcAft>
              <a:buSzPct val="110000"/>
              <a:buFont typeface=".SF NS Symbols Regular"/>
              <a:buChar char="↘"/>
              <a:defRPr sz="1300" i="1" kern="600" spc="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800" b="1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None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None/>
              <a:defRPr sz="16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16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800" b="1" dirty="0"/>
              <a:t>Jessica Donzowa</a:t>
            </a:r>
            <a:r>
              <a:rPr lang="de-DE" sz="1800" b="1" baseline="30000" dirty="0"/>
              <a:t>1,2</a:t>
            </a:r>
            <a:endParaRPr lang="de-DE" sz="1800" baseline="30000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800" baseline="30000" dirty="0"/>
              <a:t>1 </a:t>
            </a:r>
            <a:r>
              <a:rPr lang="en-US" sz="1800" dirty="0"/>
              <a:t>Max Planck Institute for Demographic Research, Germany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de-DE" sz="1800" baseline="30000" dirty="0"/>
              <a:t>2 </a:t>
            </a:r>
            <a:r>
              <a:rPr lang="de-DE" sz="1800" dirty="0"/>
              <a:t>Bielefeld University, Germany 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5C6404-B56E-4488-9C62-AFCA2C7C642D}"/>
              </a:ext>
            </a:extLst>
          </p:cNvPr>
          <p:cNvSpPr txBox="1"/>
          <p:nvPr/>
        </p:nvSpPr>
        <p:spPr>
          <a:xfrm>
            <a:off x="1274618" y="5123521"/>
            <a:ext cx="6521726" cy="73866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sz="1600" dirty="0"/>
              <a:t>Social Media as a Research Tool Webinar Series</a:t>
            </a:r>
          </a:p>
          <a:p>
            <a:r>
              <a:rPr lang="en-US" sz="1600" dirty="0"/>
              <a:t>DEMED project at the University of Glasgow</a:t>
            </a:r>
          </a:p>
          <a:p>
            <a:r>
              <a:rPr lang="en-US" sz="1600" dirty="0"/>
              <a:t>20.05.202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3ABA39B-C1B8-4AEA-8FA4-E50D3D3079B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84053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629CBE-FCBD-4978-A3FB-D51157656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41" y="932677"/>
            <a:ext cx="9258704" cy="357351"/>
          </a:xfrm>
        </p:spPr>
        <p:txBody>
          <a:bodyPr/>
          <a:lstStyle/>
          <a:p>
            <a:r>
              <a:rPr lang="en-US" dirty="0"/>
              <a:t>Campaign performance and survey recruitment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7DCF506-735A-496C-A26A-F019BA734A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609851"/>
              </p:ext>
            </p:extLst>
          </p:nvPr>
        </p:nvGraphicFramePr>
        <p:xfrm>
          <a:off x="947739" y="1406089"/>
          <a:ext cx="10296522" cy="4931037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6525745">
                  <a:extLst>
                    <a:ext uri="{9D8B030D-6E8A-4147-A177-3AD203B41FA5}">
                      <a16:colId xmlns:a16="http://schemas.microsoft.com/office/drawing/2014/main" val="632684270"/>
                    </a:ext>
                  </a:extLst>
                </a:gridCol>
                <a:gridCol w="3770777">
                  <a:extLst>
                    <a:ext uri="{9D8B030D-6E8A-4147-A177-3AD203B41FA5}">
                      <a16:colId xmlns:a16="http://schemas.microsoft.com/office/drawing/2014/main" val="770964591"/>
                    </a:ext>
                  </a:extLst>
                </a:gridCol>
              </a:tblGrid>
              <a:tr h="26855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Performance metric </a:t>
                      </a:r>
                      <a:endParaRPr lang="en-US" sz="1800" b="1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Value</a:t>
                      </a:r>
                      <a:endParaRPr lang="en-US" sz="1800" b="1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58499262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Estimated audience size 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800" dirty="0">
                          <a:effectLst/>
                        </a:rPr>
                        <a:t>3.192.700-3.762.300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1883099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Reach 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800" dirty="0">
                          <a:effectLst/>
                        </a:rPr>
                        <a:t>1.109.356</a:t>
                      </a: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86151155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Impressions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800" dirty="0">
                          <a:effectLst/>
                        </a:rPr>
                        <a:t>7.068.868</a:t>
                      </a: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52858104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Unique Link Clicks 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800" dirty="0">
                          <a:effectLst/>
                        </a:rPr>
                        <a:t>71.424</a:t>
                      </a: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2202378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Unique Outbound clicks 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68.494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93479018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Budget spend (before taxes)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4.584€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51087100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Click through rate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6.4%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67358241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Cost per link click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0.05€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6313156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The cheapest ad set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Dakar (0.02€)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69369727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The most expensive ad set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</a:rPr>
                        <a:t>Kaffrine</a:t>
                      </a:r>
                      <a:r>
                        <a:rPr lang="en-US" sz="1800" dirty="0">
                          <a:effectLst/>
                        </a:rPr>
                        <a:t> and </a:t>
                      </a:r>
                      <a:r>
                        <a:rPr lang="en-US" sz="1800" dirty="0" err="1">
                          <a:effectLst/>
                        </a:rPr>
                        <a:t>Kolda</a:t>
                      </a:r>
                      <a:r>
                        <a:rPr lang="en-US" sz="1800" dirty="0">
                          <a:effectLst/>
                        </a:rPr>
                        <a:t> (0.14€)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158990080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Cost per started survey 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.52€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70825377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800" b="0" dirty="0">
                          <a:effectLst/>
                        </a:rPr>
                        <a:t>Hits on the survey landing page 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800" dirty="0">
                          <a:effectLst/>
                        </a:rPr>
                        <a:t>122.812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12932701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800" b="0" dirty="0">
                          <a:effectLst/>
                        </a:rPr>
                        <a:t>Hits probably by human internet users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800" dirty="0">
                          <a:effectLst/>
                        </a:rPr>
                        <a:t>70.755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75553504"/>
                  </a:ext>
                </a:extLst>
              </a:tr>
              <a:tr h="26897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800" b="0" dirty="0">
                          <a:effectLst/>
                        </a:rPr>
                        <a:t>Beyond welcome page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AU" sz="1800" dirty="0">
                          <a:effectLst/>
                        </a:rPr>
                        <a:t>2.167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7963058"/>
                  </a:ext>
                </a:extLst>
              </a:tr>
              <a:tr h="40142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</a:rPr>
                        <a:t>At least one valid response before compulsory question on page 4</a:t>
                      </a:r>
                      <a:endParaRPr lang="en-US" sz="1800" b="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30</a:t>
                      </a:r>
                      <a:endParaRPr lang="en-US" sz="1800" dirty="0"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45731045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5CA3BA5E-02BB-45CC-B57B-F6EF6A91BEE7}"/>
              </a:ext>
            </a:extLst>
          </p:cNvPr>
          <p:cNvSpPr txBox="1"/>
          <p:nvPr/>
        </p:nvSpPr>
        <p:spPr>
          <a:xfrm>
            <a:off x="947739" y="3429000"/>
            <a:ext cx="10296522" cy="1466385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C37F8A-3AF3-4FF2-B04B-7D0DE0E026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3BC11C-84A8-4554-913B-66530B34EE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3835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0C6111-ADE0-4E1B-8BFC-FAC6AFEDB7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643144"/>
            <a:ext cx="10296524" cy="686871"/>
          </a:xfrm>
        </p:spPr>
        <p:txBody>
          <a:bodyPr/>
          <a:lstStyle/>
          <a:p>
            <a:r>
              <a:rPr lang="en-US" dirty="0"/>
              <a:t>Meta data- Campaign performance by region</a:t>
            </a:r>
            <a:br>
              <a:rPr lang="en-US" dirty="0"/>
            </a:br>
            <a:endParaRPr lang="en-US" sz="16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117ED01-6071-4971-9929-B08799605D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7" y="2097086"/>
            <a:ext cx="5314747" cy="395398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DE8D8CD-5824-4A32-9561-32EA0CAE26AE}"/>
              </a:ext>
            </a:extLst>
          </p:cNvPr>
          <p:cNvSpPr txBox="1"/>
          <p:nvPr/>
        </p:nvSpPr>
        <p:spPr>
          <a:xfrm>
            <a:off x="947738" y="1534240"/>
            <a:ext cx="5148261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dirty="0"/>
              <a:t>Distribution of Facebook users in Senegal at the time of the data collection (October 2024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0D0DE61-9351-4DC2-B48F-1368DD60A65F}"/>
              </a:ext>
            </a:extLst>
          </p:cNvPr>
          <p:cNvSpPr txBox="1"/>
          <p:nvPr/>
        </p:nvSpPr>
        <p:spPr>
          <a:xfrm>
            <a:off x="6558132" y="1523459"/>
            <a:ext cx="4740656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dirty="0"/>
              <a:t>Cost per link click by targeting region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B1063D4-92BD-4287-ACF2-DF76FF9F5C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7414" y="2097086"/>
            <a:ext cx="4740656" cy="3947652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709B1-B441-4420-87CC-AEF2992ED9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A74501-1AF9-40A0-B82D-6F853B4D74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602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DE68A3-2217-423A-86D4-BF18FC5F41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709383"/>
            <a:ext cx="10296524" cy="562846"/>
          </a:xfrm>
        </p:spPr>
        <p:txBody>
          <a:bodyPr/>
          <a:lstStyle/>
          <a:p>
            <a:r>
              <a:rPr lang="en-US" dirty="0"/>
              <a:t>Meta data- Device for link click by region </a:t>
            </a:r>
            <a:br>
              <a:rPr lang="en-US" dirty="0"/>
            </a:b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4D6C032-DC27-4597-893A-E042C4DC89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63255" y="2063485"/>
            <a:ext cx="4781006" cy="398125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6C79268-869A-4918-86C8-4F1F9A67E9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1080" y="2093919"/>
            <a:ext cx="5314747" cy="39539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2FC21B9-4ACC-47F1-970D-5D116E70FD3C}"/>
              </a:ext>
            </a:extLst>
          </p:cNvPr>
          <p:cNvSpPr txBox="1"/>
          <p:nvPr/>
        </p:nvSpPr>
        <p:spPr>
          <a:xfrm>
            <a:off x="947738" y="1534240"/>
            <a:ext cx="5148261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dirty="0"/>
              <a:t>Distribution of Facebook users in Senegal at the time of the data collection (October 2024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4270BB-41A9-48AD-B2B9-7EF7DB5D3392}"/>
              </a:ext>
            </a:extLst>
          </p:cNvPr>
          <p:cNvSpPr txBox="1"/>
          <p:nvPr/>
        </p:nvSpPr>
        <p:spPr>
          <a:xfrm>
            <a:off x="7043739" y="1655035"/>
            <a:ext cx="5148261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dirty="0"/>
              <a:t>Device used for link clicks by reg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9082986-CEB8-41AC-89A0-F6FF8CAC0B3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B98E40-9440-499B-B1EA-3C36B64C62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2591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116786-E307-4D7F-9913-C86CEC342F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7" y="539317"/>
            <a:ext cx="10296524" cy="793865"/>
          </a:xfrm>
        </p:spPr>
        <p:txBody>
          <a:bodyPr/>
          <a:lstStyle/>
          <a:p>
            <a:r>
              <a:rPr lang="en-US" dirty="0"/>
              <a:t>Campaign performance: Targeting accuracy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652333-0575-41AF-86B2-3D85DA8B08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7" y="2097086"/>
            <a:ext cx="5314747" cy="395398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B37CD1A-91C6-4C5D-9150-37DE9927AC41}"/>
              </a:ext>
            </a:extLst>
          </p:cNvPr>
          <p:cNvSpPr txBox="1"/>
          <p:nvPr/>
        </p:nvSpPr>
        <p:spPr>
          <a:xfrm>
            <a:off x="947738" y="1534240"/>
            <a:ext cx="5148261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dirty="0"/>
              <a:t>Distribution of Facebook users in Senegal at the time of the data collection (October 2024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D1E2AE0-FD57-4A66-8AD0-96A90562F2E3}"/>
              </a:ext>
            </a:extLst>
          </p:cNvPr>
          <p:cNvSpPr txBox="1"/>
          <p:nvPr/>
        </p:nvSpPr>
        <p:spPr>
          <a:xfrm>
            <a:off x="6397336" y="1534240"/>
            <a:ext cx="4846926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dirty="0"/>
              <a:t>Correspondence between ad set and self-reported reg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488ED32-5845-4F2E-A094-70A9E8C280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7336" y="2160725"/>
            <a:ext cx="4671839" cy="389034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2165A60-642E-4B81-B5A7-DF6A174D81B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B99EC3-4B7E-421F-A2E2-02FA4C8A8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2962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91E86-00D6-4206-8CC1-CA4925B590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mographic composition of the sample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D59FCA3C-C7CA-479E-B5A4-0549BA1E08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4520930"/>
              </p:ext>
            </p:extLst>
          </p:nvPr>
        </p:nvGraphicFramePr>
        <p:xfrm>
          <a:off x="947737" y="1455174"/>
          <a:ext cx="10296523" cy="4842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8227">
                  <a:extLst>
                    <a:ext uri="{9D8B030D-6E8A-4147-A177-3AD203B41FA5}">
                      <a16:colId xmlns:a16="http://schemas.microsoft.com/office/drawing/2014/main" val="1029490753"/>
                    </a:ext>
                  </a:extLst>
                </a:gridCol>
                <a:gridCol w="3040201">
                  <a:extLst>
                    <a:ext uri="{9D8B030D-6E8A-4147-A177-3AD203B41FA5}">
                      <a16:colId xmlns:a16="http://schemas.microsoft.com/office/drawing/2014/main" val="2345746798"/>
                    </a:ext>
                  </a:extLst>
                </a:gridCol>
                <a:gridCol w="1677263">
                  <a:extLst>
                    <a:ext uri="{9D8B030D-6E8A-4147-A177-3AD203B41FA5}">
                      <a16:colId xmlns:a16="http://schemas.microsoft.com/office/drawing/2014/main" val="526416298"/>
                    </a:ext>
                  </a:extLst>
                </a:gridCol>
                <a:gridCol w="2267137">
                  <a:extLst>
                    <a:ext uri="{9D8B030D-6E8A-4147-A177-3AD203B41FA5}">
                      <a16:colId xmlns:a16="http://schemas.microsoft.com/office/drawing/2014/main" val="1317738698"/>
                    </a:ext>
                  </a:extLst>
                </a:gridCol>
                <a:gridCol w="1443695">
                  <a:extLst>
                    <a:ext uri="{9D8B030D-6E8A-4147-A177-3AD203B41FA5}">
                      <a16:colId xmlns:a16="http://schemas.microsoft.com/office/drawing/2014/main" val="40764593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Variabl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ategor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ercentage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Tota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7540144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l"/>
                      <a:r>
                        <a:rPr lang="en-US" dirty="0"/>
                        <a:t>Sex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Fema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0.6</a:t>
                      </a:r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660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385345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Male 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92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9.4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6561037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pPr algn="l"/>
                      <a:r>
                        <a:rPr lang="en-US" dirty="0"/>
                        <a:t>Age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18-29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38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9.7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479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7250806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30-3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3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248142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40+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15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4.0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0625819"/>
                  </a:ext>
                </a:extLst>
              </a:tr>
              <a:tr h="370840">
                <a:tc rowSpan="3">
                  <a:txBody>
                    <a:bodyPr/>
                    <a:lstStyle/>
                    <a:p>
                      <a:pPr algn="l"/>
                      <a:r>
                        <a:rPr lang="en-US" dirty="0"/>
                        <a:t>Education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Primary 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14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.8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547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2197473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Seconda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5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7.3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722745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Tertiary 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74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1.8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9475134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pPr algn="l"/>
                      <a:r>
                        <a:rPr lang="en-US" dirty="0"/>
                        <a:t>Region 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Rural 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85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3.6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424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85881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Urban 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39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56.4</a:t>
                      </a:r>
                    </a:p>
                  </a:txBody>
                  <a:tcPr anchor="ctr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6888118"/>
                  </a:ext>
                </a:extLst>
              </a:tr>
              <a:tr h="392640">
                <a:tc rowSpan="2">
                  <a:txBody>
                    <a:bodyPr/>
                    <a:lstStyle/>
                    <a:p>
                      <a:pPr algn="l"/>
                      <a:r>
                        <a:rPr lang="en-US" dirty="0"/>
                        <a:t>Religion 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Muslim 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35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87.2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499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270313263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Other/No Relig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2.8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3651643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4B1659-343E-4E0F-95A5-9F1F6262F6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A7D78B-49CC-4FF3-BEC8-2FE1EBFC94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98025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0454D-7D00-40CE-A0AA-E7C1A653D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questions: Regional variation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E77303-CAF8-4D4F-A250-9D4760E189D0}"/>
              </a:ext>
            </a:extLst>
          </p:cNvPr>
          <p:cNvSpPr txBox="1"/>
          <p:nvPr/>
        </p:nvSpPr>
        <p:spPr>
          <a:xfrm>
            <a:off x="1213408" y="2878647"/>
            <a:ext cx="9765184" cy="205633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400050" indent="-400050">
              <a:lnSpc>
                <a:spcPts val="2300"/>
              </a:lnSpc>
              <a:spcBef>
                <a:spcPts val="1150"/>
              </a:spcBef>
              <a:buFont typeface="+mj-lt"/>
              <a:buAutoNum type="romanUcPeriod"/>
            </a:pPr>
            <a:r>
              <a:rPr lang="en-US" b="1" dirty="0"/>
              <a:t>Starting error: </a:t>
            </a:r>
            <a:r>
              <a:rPr lang="en-US" dirty="0"/>
              <a:t>The survey starting rate will be higher for men and for the capital region, compared to women and non-capital regions.</a:t>
            </a:r>
          </a:p>
          <a:p>
            <a:pPr marL="400050" indent="-400050">
              <a:lnSpc>
                <a:spcPts val="2300"/>
              </a:lnSpc>
              <a:spcBef>
                <a:spcPts val="1150"/>
              </a:spcBef>
              <a:buFont typeface="+mj-lt"/>
              <a:buAutoNum type="romanUcPeriod"/>
            </a:pPr>
            <a:r>
              <a:rPr lang="en-US" b="1" dirty="0"/>
              <a:t>Unit Dropout Error: </a:t>
            </a:r>
            <a:r>
              <a:rPr lang="en-US" dirty="0"/>
              <a:t>The bias in the demographic composition increases over the course of the survey pages more strongly for non-capital regions than the capital region.</a:t>
            </a:r>
          </a:p>
          <a:p>
            <a:pPr marL="400050" indent="-400050">
              <a:lnSpc>
                <a:spcPts val="2300"/>
              </a:lnSpc>
              <a:spcBef>
                <a:spcPts val="1150"/>
              </a:spcBef>
              <a:buFont typeface="+mj-lt"/>
              <a:buAutoNum type="romanUcPeriod"/>
            </a:pPr>
            <a:r>
              <a:rPr lang="en-US" b="1" dirty="0"/>
              <a:t>Item non-response error: </a:t>
            </a:r>
            <a:r>
              <a:rPr lang="en-US" dirty="0"/>
              <a:t>The mean item nonresponse is higher for participants targeted at the non-capital region than for the capital region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7121DA-EE7C-4C1E-BDC3-47BA0A6C905C}"/>
              </a:ext>
            </a:extLst>
          </p:cNvPr>
          <p:cNvSpPr txBox="1"/>
          <p:nvPr/>
        </p:nvSpPr>
        <p:spPr>
          <a:xfrm>
            <a:off x="947739" y="6096458"/>
            <a:ext cx="5196469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Joint work with Björn Rohr &amp; Steffen Pötzschk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A8F4042-7C97-49AF-AF36-3F1A69EA17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11361DF-93B2-4837-8264-F493FCF5E0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73369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B32F80-8985-410E-8038-3655A413CD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romanUcPeriod"/>
            </a:pPr>
            <a:r>
              <a:rPr lang="en-US" dirty="0"/>
              <a:t>Starting ERROR: Gender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7026AEFC-9DFC-4018-B8DF-9E1083E63D5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8621732"/>
              </p:ext>
            </p:extLst>
          </p:nvPr>
        </p:nvGraphicFramePr>
        <p:xfrm>
          <a:off x="947739" y="2552700"/>
          <a:ext cx="10296525" cy="148336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059305">
                  <a:extLst>
                    <a:ext uri="{9D8B030D-6E8A-4147-A177-3AD203B41FA5}">
                      <a16:colId xmlns:a16="http://schemas.microsoft.com/office/drawing/2014/main" val="3017652465"/>
                    </a:ext>
                  </a:extLst>
                </a:gridCol>
                <a:gridCol w="2059305">
                  <a:extLst>
                    <a:ext uri="{9D8B030D-6E8A-4147-A177-3AD203B41FA5}">
                      <a16:colId xmlns:a16="http://schemas.microsoft.com/office/drawing/2014/main" val="262493056"/>
                    </a:ext>
                  </a:extLst>
                </a:gridCol>
                <a:gridCol w="2059305">
                  <a:extLst>
                    <a:ext uri="{9D8B030D-6E8A-4147-A177-3AD203B41FA5}">
                      <a16:colId xmlns:a16="http://schemas.microsoft.com/office/drawing/2014/main" val="2895860810"/>
                    </a:ext>
                  </a:extLst>
                </a:gridCol>
                <a:gridCol w="2059305">
                  <a:extLst>
                    <a:ext uri="{9D8B030D-6E8A-4147-A177-3AD203B41FA5}">
                      <a16:colId xmlns:a16="http://schemas.microsoft.com/office/drawing/2014/main" val="2446297392"/>
                    </a:ext>
                  </a:extLst>
                </a:gridCol>
                <a:gridCol w="2059305">
                  <a:extLst>
                    <a:ext uri="{9D8B030D-6E8A-4147-A177-3AD203B41FA5}">
                      <a16:colId xmlns:a16="http://schemas.microsoft.com/office/drawing/2014/main" val="299251518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d set gend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Impression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Clickers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spondents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esp.- Click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37629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4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1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.20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0498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Women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6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0.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8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1.20</a:t>
                      </a:r>
                    </a:p>
                  </a:txBody>
                  <a:tcPr>
                    <a:solidFill>
                      <a:srgbClr val="FF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4481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ot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8656218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1C4C90D-6C91-43A9-949A-DAD384773EB0}"/>
              </a:ext>
            </a:extLst>
          </p:cNvPr>
          <p:cNvSpPr txBox="1"/>
          <p:nvPr/>
        </p:nvSpPr>
        <p:spPr>
          <a:xfrm>
            <a:off x="1289824" y="5097147"/>
            <a:ext cx="9612351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No difference in the ad set gender composition between clickers and respondents.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83075E-43D5-44B3-8F44-4DA55B3595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9A9221-CB24-42F8-9DAB-892C9D7E2D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6676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B32F80-8985-410E-8038-3655A413CD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4" y="274102"/>
            <a:ext cx="10296524" cy="379918"/>
          </a:xfrm>
        </p:spPr>
        <p:txBody>
          <a:bodyPr/>
          <a:lstStyle/>
          <a:p>
            <a:pPr marL="514350" indent="-514350">
              <a:buFont typeface="+mj-lt"/>
              <a:buAutoNum type="romanUcPeriod"/>
            </a:pPr>
            <a:r>
              <a:rPr lang="en-US" dirty="0"/>
              <a:t>Starting ERROR: Region 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4095860-CCC2-44EB-9D7B-048C53062C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948131"/>
              </p:ext>
            </p:extLst>
          </p:nvPr>
        </p:nvGraphicFramePr>
        <p:xfrm>
          <a:off x="947736" y="679120"/>
          <a:ext cx="10296525" cy="582168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059305">
                  <a:extLst>
                    <a:ext uri="{9D8B030D-6E8A-4147-A177-3AD203B41FA5}">
                      <a16:colId xmlns:a16="http://schemas.microsoft.com/office/drawing/2014/main" val="3017652465"/>
                    </a:ext>
                  </a:extLst>
                </a:gridCol>
                <a:gridCol w="2059305">
                  <a:extLst>
                    <a:ext uri="{9D8B030D-6E8A-4147-A177-3AD203B41FA5}">
                      <a16:colId xmlns:a16="http://schemas.microsoft.com/office/drawing/2014/main" val="262493056"/>
                    </a:ext>
                  </a:extLst>
                </a:gridCol>
                <a:gridCol w="2059305">
                  <a:extLst>
                    <a:ext uri="{9D8B030D-6E8A-4147-A177-3AD203B41FA5}">
                      <a16:colId xmlns:a16="http://schemas.microsoft.com/office/drawing/2014/main" val="2895860810"/>
                    </a:ext>
                  </a:extLst>
                </a:gridCol>
                <a:gridCol w="2059305">
                  <a:extLst>
                    <a:ext uri="{9D8B030D-6E8A-4147-A177-3AD203B41FA5}">
                      <a16:colId xmlns:a16="http://schemas.microsoft.com/office/drawing/2014/main" val="2446297392"/>
                    </a:ext>
                  </a:extLst>
                </a:gridCol>
                <a:gridCol w="2059305">
                  <a:extLst>
                    <a:ext uri="{9D8B030D-6E8A-4147-A177-3AD203B41FA5}">
                      <a16:colId xmlns:a16="http://schemas.microsoft.com/office/drawing/2014/main" val="2992515181"/>
                    </a:ext>
                  </a:extLst>
                </a:gridCol>
              </a:tblGrid>
              <a:tr h="328597">
                <a:tc>
                  <a:txBody>
                    <a:bodyPr/>
                    <a:lstStyle/>
                    <a:p>
                      <a:r>
                        <a:rPr lang="en-US" sz="1600" dirty="0"/>
                        <a:t>Ad set reg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Impression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Clickers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spondents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/>
                        <a:t>Resp.- Click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3762910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/>
                        <a:t>Dak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9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5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-14.2</a:t>
                      </a:r>
                    </a:p>
                  </a:txBody>
                  <a:tcPr>
                    <a:solidFill>
                      <a:srgbClr val="FF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9049886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Diourbel</a:t>
                      </a:r>
                      <a:r>
                        <a:rPr lang="en-US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.1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6448195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Fati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5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.1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656218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Kaffrin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.2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2912760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Kaolack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5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6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.7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6348253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Kedougou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.7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1337395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Kold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6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.9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899286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Loug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5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2.4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5887431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Matam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4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-0.2</a:t>
                      </a:r>
                    </a:p>
                  </a:txBody>
                  <a:tcPr>
                    <a:solidFill>
                      <a:srgbClr val="FF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6157407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/>
                        <a:t>Saint Lou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8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8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8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-0.2</a:t>
                      </a:r>
                    </a:p>
                  </a:txBody>
                  <a:tcPr>
                    <a:solidFill>
                      <a:srgbClr val="FF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4294480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Sedhiou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-0.1</a:t>
                      </a:r>
                    </a:p>
                  </a:txBody>
                  <a:tcPr>
                    <a:solidFill>
                      <a:srgbClr val="FF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576697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Tambacounda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4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5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.1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1786226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Thi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3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5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4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-0.9</a:t>
                      </a:r>
                    </a:p>
                  </a:txBody>
                  <a:tcPr>
                    <a:solidFill>
                      <a:srgbClr val="FF99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4426653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 err="1"/>
                        <a:t>Ziguincho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9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7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8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0.3</a:t>
                      </a:r>
                    </a:p>
                  </a:txBody>
                  <a:tcP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163274"/>
                  </a:ext>
                </a:extLst>
              </a:tr>
              <a:tr h="358470">
                <a:tc>
                  <a:txBody>
                    <a:bodyPr/>
                    <a:lstStyle/>
                    <a:p>
                      <a:r>
                        <a:rPr lang="en-US" dirty="0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1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304570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CF14EF1-958D-4F49-A41A-A6F51160B66D}"/>
              </a:ext>
            </a:extLst>
          </p:cNvPr>
          <p:cNvSpPr/>
          <p:nvPr/>
        </p:nvSpPr>
        <p:spPr>
          <a:xfrm>
            <a:off x="947734" y="1020726"/>
            <a:ext cx="10296524" cy="379918"/>
          </a:xfrm>
          <a:prstGeom prst="rect">
            <a:avLst/>
          </a:prstGeom>
          <a:noFill/>
          <a:ln w="38100" cmpd="sng">
            <a:solidFill>
              <a:srgbClr val="006C66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8AF0F7-1A8D-46D2-A8CD-9EBDC0F6EF0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BE575A4-28BD-4E12-81B9-4EB1385EF0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50625"/>
            <a:ext cx="2743200" cy="365125"/>
          </a:xfrm>
        </p:spPr>
        <p:txBody>
          <a:bodyPr/>
          <a:lstStyle/>
          <a:p>
            <a:fld id="{130B5760-E5E7-4599-8A10-15F616D96D6C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748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D050C0-BE62-460E-97FE-1552D60F1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684612"/>
          </a:xfrm>
        </p:spPr>
        <p:txBody>
          <a:bodyPr/>
          <a:lstStyle/>
          <a:p>
            <a:pPr marL="514350" indent="-514350">
              <a:buFont typeface="+mj-lt"/>
              <a:buAutoNum type="romanUcPeriod" startAt="2"/>
            </a:pPr>
            <a:r>
              <a:rPr lang="en-US" dirty="0"/>
              <a:t>Unit Dropout error</a:t>
            </a:r>
            <a:br>
              <a:rPr lang="en-US" dirty="0"/>
            </a:br>
            <a:endParaRPr lang="en-US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0AC3C16-CC30-48D9-875B-3A1F1CE29620}"/>
              </a:ext>
            </a:extLst>
          </p:cNvPr>
          <p:cNvSpPr txBox="1"/>
          <p:nvPr/>
        </p:nvSpPr>
        <p:spPr>
          <a:xfrm>
            <a:off x="947739" y="1728421"/>
            <a:ext cx="2656114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dirty="0"/>
              <a:t>Ad set region: Non-capital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E85E0E-A327-4A74-95EC-9227FFE192F6}"/>
              </a:ext>
            </a:extLst>
          </p:cNvPr>
          <p:cNvSpPr txBox="1"/>
          <p:nvPr/>
        </p:nvSpPr>
        <p:spPr>
          <a:xfrm>
            <a:off x="6517916" y="1704787"/>
            <a:ext cx="3235684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1600" dirty="0"/>
              <a:t>Ad set region: Capital (Dakar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71C6BB3-95F3-4D9D-957C-E5B9B2B655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8434" y="2042814"/>
            <a:ext cx="4805829" cy="40019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5A7DB68F-759A-442C-BC57-291E83F169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737" y="2042814"/>
            <a:ext cx="4805829" cy="400192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39D5745-61E0-4190-A054-F89EE96B6F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9C77F2-9F98-4465-A056-11CB2B9B4D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004128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848AC2-2860-46F1-8FB2-EB124B68C5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indent="-514350">
              <a:buFont typeface="+mj-lt"/>
              <a:buAutoNum type="romanUcPeriod" startAt="3"/>
            </a:pPr>
            <a:r>
              <a:rPr lang="en-US" dirty="0"/>
              <a:t>Item non-response erro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5FD39D-EB32-4998-9D7B-1A346E652913}"/>
              </a:ext>
            </a:extLst>
          </p:cNvPr>
          <p:cNvSpPr txBox="1"/>
          <p:nvPr/>
        </p:nvSpPr>
        <p:spPr>
          <a:xfrm>
            <a:off x="7073461" y="2722179"/>
            <a:ext cx="3738621" cy="130664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Item non-response seems to be higher in ad set capital regions. 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Next steps: Investigate age and gender pattern.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9687619-4F66-4BDB-8016-2C82BE9C6C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7" y="2097086"/>
            <a:ext cx="5148263" cy="383573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AEF8C4-8CAD-4964-A712-A94647E484B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513973-A49D-48A8-937E-5FCCE6B2B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76476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A43B48-6FE0-43EE-A1F6-A075F6070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ructur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2A05E1F-C115-496E-887A-AD38F7243E82}"/>
              </a:ext>
            </a:extLst>
          </p:cNvPr>
          <p:cNvSpPr txBox="1"/>
          <p:nvPr/>
        </p:nvSpPr>
        <p:spPr>
          <a:xfrm>
            <a:off x="1148898" y="2927346"/>
            <a:ext cx="9760107" cy="249927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400050" indent="-400050" algn="just">
              <a:lnSpc>
                <a:spcPts val="2300"/>
              </a:lnSpc>
              <a:spcBef>
                <a:spcPts val="1150"/>
              </a:spcBef>
              <a:buFont typeface="+mj-lt"/>
              <a:buAutoNum type="romanUcPeriod"/>
            </a:pPr>
            <a:r>
              <a:rPr lang="en-US" sz="1600" dirty="0"/>
              <a:t>Motivation: Data availability and &amp; challenges in data collection </a:t>
            </a:r>
          </a:p>
          <a:p>
            <a:pPr marL="400050" indent="-400050" algn="just">
              <a:lnSpc>
                <a:spcPts val="2300"/>
              </a:lnSpc>
              <a:spcBef>
                <a:spcPts val="1150"/>
              </a:spcBef>
              <a:buFont typeface="+mj-lt"/>
              <a:buAutoNum type="romanUcPeriod"/>
            </a:pPr>
            <a:r>
              <a:rPr lang="en-US" sz="1600" dirty="0"/>
              <a:t>Project overview: The Senegal Demographic Survey </a:t>
            </a:r>
          </a:p>
          <a:p>
            <a:pPr marL="400050" indent="-400050" algn="just">
              <a:lnSpc>
                <a:spcPts val="2300"/>
              </a:lnSpc>
              <a:spcBef>
                <a:spcPts val="1150"/>
              </a:spcBef>
              <a:buFont typeface="+mj-lt"/>
              <a:buAutoNum type="romanUcPeriod"/>
            </a:pPr>
            <a:r>
              <a:rPr lang="en-US" sz="1600" dirty="0"/>
              <a:t>Project 1: Assessing Data Quality in Online Surveys: A Case Study of Facebook Recruitment in Senegal Joint work with: Björn Rohr &amp; Steffen Pötzschke</a:t>
            </a:r>
          </a:p>
          <a:p>
            <a:pPr marL="400050" indent="-400050" algn="just">
              <a:lnSpc>
                <a:spcPts val="2300"/>
              </a:lnSpc>
              <a:spcBef>
                <a:spcPts val="1150"/>
              </a:spcBef>
              <a:buFont typeface="+mj-lt"/>
              <a:buAutoNum type="romanUcPeriod"/>
            </a:pPr>
            <a:r>
              <a:rPr lang="en-US" sz="1600" dirty="0"/>
              <a:t>Project 2: Estimating Fertility Indicators in Low- and Middle-Income Countries: Evidence from a Network Reporting Online Survey in Senegal                                                                       				    Joint work with: Daniela Perrotta, Dennis Feehan &amp; Emilio Zagheni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173294-39EF-4DCB-B670-5A488CCC54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5AAD69-970B-4CDF-948B-FD1BDAEAA5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83795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DC1991-2133-43CF-9686-2AA8A74EF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ding social media Survey Coverage: Network Reporting</a:t>
            </a:r>
          </a:p>
        </p:txBody>
      </p:sp>
      <p:pic>
        <p:nvPicPr>
          <p:cNvPr id="6" name="Graphic 5" descr="Connections">
            <a:extLst>
              <a:ext uri="{FF2B5EF4-FFF2-40B4-BE49-F238E27FC236}">
                <a16:creationId xmlns:a16="http://schemas.microsoft.com/office/drawing/2014/main" id="{AAF19630-9793-4A0D-9123-A0F39C738D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09268" y="2327351"/>
            <a:ext cx="2450592" cy="24505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F355543-7D25-4716-AC38-485B0562902B}"/>
              </a:ext>
            </a:extLst>
          </p:cNvPr>
          <p:cNvSpPr txBox="1"/>
          <p:nvPr/>
        </p:nvSpPr>
        <p:spPr>
          <a:xfrm>
            <a:off x="1132140" y="2290857"/>
            <a:ext cx="7609524" cy="30162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b="1" dirty="0"/>
              <a:t>Network reporting for hard-to-survey populations</a:t>
            </a:r>
            <a:r>
              <a:rPr lang="en-US" dirty="0"/>
              <a:t>:</a:t>
            </a:r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Used to estimate sizes of hard-to-survey populations, e.g. those at risk of HIV/AIDS or the homeless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Bernard et al., 2010; </a:t>
            </a:r>
            <a:r>
              <a:rPr lang="en-US" sz="1600" dirty="0" err="1">
                <a:solidFill>
                  <a:schemeClr val="bg1">
                    <a:lumMod val="65000"/>
                  </a:schemeClr>
                </a:solidFill>
              </a:rPr>
              <a:t>Killworth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 et al., 1998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n demographic research, used for estimating mortality rates in settings lacking vital registration systems (Rwanda)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Feehan &amp; </a:t>
            </a:r>
            <a:r>
              <a:rPr lang="en-US" sz="1600" dirty="0" err="1">
                <a:solidFill>
                  <a:schemeClr val="bg1">
                    <a:lumMod val="65000"/>
                  </a:schemeClr>
                </a:solidFill>
              </a:rPr>
              <a:t>Umubyeyi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, et al., 2016)</a:t>
            </a:r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Used with Facebook survey recruitment to estimate Internet adoption rates across countries (U.S., U.K., Brazil)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Feehan &amp; Cobb, 2019)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991EE10-C792-4CC1-9654-8945A17D6C9F}"/>
              </a:ext>
            </a:extLst>
          </p:cNvPr>
          <p:cNvSpPr txBox="1"/>
          <p:nvPr/>
        </p:nvSpPr>
        <p:spPr>
          <a:xfrm>
            <a:off x="947738" y="6128951"/>
            <a:ext cx="7793925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Joint work with Daniela Perrotta, Dennis Feehan &amp; Emilio Zagheni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49805F-019B-4FA4-A6CA-6D8704A93F1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926507-86FF-41F2-A090-126AEBF9F3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324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DC1991-2133-43CF-9686-2AA8A74EFD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ending social media Survey Coverage: Network Reporting</a:t>
            </a:r>
          </a:p>
        </p:txBody>
      </p:sp>
      <p:pic>
        <p:nvPicPr>
          <p:cNvPr id="6" name="Graphic 5" descr="Connections">
            <a:extLst>
              <a:ext uri="{FF2B5EF4-FFF2-40B4-BE49-F238E27FC236}">
                <a16:creationId xmlns:a16="http://schemas.microsoft.com/office/drawing/2014/main" id="{AAF19630-9793-4A0D-9123-A0F39C738D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609268" y="2327351"/>
            <a:ext cx="2450592" cy="24505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F355543-7D25-4716-AC38-485B0562902B}"/>
              </a:ext>
            </a:extLst>
          </p:cNvPr>
          <p:cNvSpPr txBox="1"/>
          <p:nvPr/>
        </p:nvSpPr>
        <p:spPr>
          <a:xfrm>
            <a:off x="1132140" y="2290857"/>
            <a:ext cx="7609524" cy="301621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US" b="1" dirty="0"/>
              <a:t>Network reporting for hard-to-survey populations</a:t>
            </a:r>
            <a:r>
              <a:rPr lang="en-US" dirty="0"/>
              <a:t>:</a:t>
            </a:r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Used to estimate sizes of hard-to-survey populations, e.g. those at risk of HIV/AIDS or the homeless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Bernard et al., 2010; </a:t>
            </a:r>
            <a:r>
              <a:rPr lang="en-US" sz="1600" dirty="0" err="1">
                <a:solidFill>
                  <a:schemeClr val="bg1">
                    <a:lumMod val="65000"/>
                  </a:schemeClr>
                </a:solidFill>
              </a:rPr>
              <a:t>Killworth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 et al., 1998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In demographic research, used for estimating mortality rates in settings lacking vital registration systems (Rwanda)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Feehan &amp; </a:t>
            </a:r>
            <a:r>
              <a:rPr lang="en-US" sz="1600" dirty="0" err="1">
                <a:solidFill>
                  <a:schemeClr val="bg1">
                    <a:lumMod val="65000"/>
                  </a:schemeClr>
                </a:solidFill>
              </a:rPr>
              <a:t>Umubyeyi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, et al., 2016)</a:t>
            </a:r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Used with Facebook survey recruitment to estimate Internet adoption rates across countries (U.S., U.K., Brazil)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Feehan &amp; Cobb (2019)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126D821-7CA2-40F4-9D86-1DD46AC9F9B6}"/>
              </a:ext>
            </a:extLst>
          </p:cNvPr>
          <p:cNvSpPr txBox="1"/>
          <p:nvPr/>
        </p:nvSpPr>
        <p:spPr>
          <a:xfrm>
            <a:off x="947739" y="5475993"/>
            <a:ext cx="10296524" cy="568745"/>
          </a:xfrm>
          <a:prstGeom prst="rect">
            <a:avLst/>
          </a:prstGeom>
          <a:noFill/>
          <a:ln w="28575">
            <a:solidFill>
              <a:srgbClr val="006C66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b="1" dirty="0"/>
              <a:t>Can a network reporting approach help mitigate biases in Facebook-recruited samples, leading to more representative survey results? 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39C5D4-239B-4635-9818-566C223CAA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464E400-9193-4E8F-B963-7E983302C4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48265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33F37-D6ED-4337-8E13-E767B5E6C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6" y="749055"/>
            <a:ext cx="10296524" cy="488413"/>
          </a:xfrm>
        </p:spPr>
        <p:txBody>
          <a:bodyPr/>
          <a:lstStyle/>
          <a:p>
            <a:r>
              <a:rPr lang="en-US" dirty="0"/>
              <a:t>Network reporting in our survey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1C12343-9A2A-44C0-AD44-7A95164A96DC}"/>
              </a:ext>
            </a:extLst>
          </p:cNvPr>
          <p:cNvSpPr/>
          <p:nvPr/>
        </p:nvSpPr>
        <p:spPr>
          <a:xfrm>
            <a:off x="1022381" y="2113859"/>
            <a:ext cx="10296524" cy="1420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000" b="1" dirty="0"/>
              <a:t>Network definition: 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People with whom respondents had a conversation the previous day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en-US" sz="2000" dirty="0"/>
              <a:t>People with whom respondents shared a meal the previous day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8F8680F-C641-47B2-9F3A-C9BAE31B989E}"/>
              </a:ext>
            </a:extLst>
          </p:cNvPr>
          <p:cNvSpPr/>
          <p:nvPr/>
        </p:nvSpPr>
        <p:spPr>
          <a:xfrm>
            <a:off x="947737" y="4191896"/>
            <a:ext cx="1662114" cy="912686"/>
          </a:xfrm>
          <a:prstGeom prst="roundRect">
            <a:avLst/>
          </a:prstGeom>
          <a:noFill/>
          <a:ln>
            <a:solidFill>
              <a:srgbClr val="006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o-demographic informatio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9083B30C-572A-4781-B37F-38050D090811}"/>
              </a:ext>
            </a:extLst>
          </p:cNvPr>
          <p:cNvSpPr/>
          <p:nvPr/>
        </p:nvSpPr>
        <p:spPr>
          <a:xfrm>
            <a:off x="2881718" y="4375862"/>
            <a:ext cx="1662114" cy="544749"/>
          </a:xfrm>
          <a:prstGeom prst="roundRect">
            <a:avLst/>
          </a:prstGeom>
          <a:noFill/>
          <a:ln>
            <a:solidFill>
              <a:srgbClr val="006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 number </a:t>
            </a:r>
          </a:p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children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3EA4EC98-4ACE-4740-ACDA-E23188CA720A}"/>
              </a:ext>
            </a:extLst>
          </p:cNvPr>
          <p:cNvSpPr/>
          <p:nvPr/>
        </p:nvSpPr>
        <p:spPr>
          <a:xfrm>
            <a:off x="4933149" y="3782332"/>
            <a:ext cx="1662114" cy="710553"/>
          </a:xfrm>
          <a:prstGeom prst="roundRect">
            <a:avLst/>
          </a:prstGeom>
          <a:noFill/>
          <a:ln>
            <a:solidFill>
              <a:srgbClr val="006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rsation </a:t>
            </a:r>
          </a:p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5186F07-66BD-4020-9D41-473A4A80A285}"/>
              </a:ext>
            </a:extLst>
          </p:cNvPr>
          <p:cNvSpPr/>
          <p:nvPr/>
        </p:nvSpPr>
        <p:spPr>
          <a:xfrm>
            <a:off x="4924275" y="4932434"/>
            <a:ext cx="1662114" cy="710552"/>
          </a:xfrm>
          <a:prstGeom prst="roundRect">
            <a:avLst/>
          </a:prstGeom>
          <a:noFill/>
          <a:ln>
            <a:solidFill>
              <a:srgbClr val="006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l </a:t>
            </a:r>
          </a:p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01B8C377-2091-4ADB-945D-FB6589655B8F}"/>
              </a:ext>
            </a:extLst>
          </p:cNvPr>
          <p:cNvSpPr/>
          <p:nvPr/>
        </p:nvSpPr>
        <p:spPr>
          <a:xfrm>
            <a:off x="7479553" y="3549466"/>
            <a:ext cx="1475943" cy="710553"/>
          </a:xfrm>
          <a:prstGeom prst="roundRect">
            <a:avLst/>
          </a:prstGeom>
          <a:noFill/>
          <a:ln>
            <a:solidFill>
              <a:srgbClr val="006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 contact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969132C-E7BD-4971-B097-4E5F50364F5F}"/>
              </a:ext>
            </a:extLst>
          </p:cNvPr>
          <p:cNvSpPr/>
          <p:nvPr/>
        </p:nvSpPr>
        <p:spPr>
          <a:xfrm>
            <a:off x="7507530" y="4429335"/>
            <a:ext cx="1447967" cy="640886"/>
          </a:xfrm>
          <a:prstGeom prst="roundRect">
            <a:avLst/>
          </a:prstGeom>
          <a:noFill/>
          <a:ln>
            <a:solidFill>
              <a:srgbClr val="006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 contact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C1BA2BA8-2EA7-475E-9FCA-BD8EEF7F7B93}"/>
              </a:ext>
            </a:extLst>
          </p:cNvPr>
          <p:cNvSpPr/>
          <p:nvPr/>
        </p:nvSpPr>
        <p:spPr>
          <a:xfrm>
            <a:off x="7482789" y="5239538"/>
            <a:ext cx="1497451" cy="640886"/>
          </a:xfrm>
          <a:prstGeom prst="roundRect">
            <a:avLst/>
          </a:prstGeom>
          <a:noFill/>
          <a:ln>
            <a:solidFill>
              <a:srgbClr val="006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rd contact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F9851CA4-24BD-416E-8DDB-571E9BB2B52F}"/>
              </a:ext>
            </a:extLst>
          </p:cNvPr>
          <p:cNvSpPr/>
          <p:nvPr/>
        </p:nvSpPr>
        <p:spPr>
          <a:xfrm>
            <a:off x="9387809" y="4423697"/>
            <a:ext cx="1498492" cy="640887"/>
          </a:xfrm>
          <a:prstGeom prst="roundRect">
            <a:avLst/>
          </a:prstGeom>
          <a:noFill/>
          <a:ln>
            <a:solidFill>
              <a:srgbClr val="006C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ention check</a:t>
            </a:r>
          </a:p>
        </p:txBody>
      </p:sp>
      <p:sp>
        <p:nvSpPr>
          <p:cNvPr id="27" name="Right Brace 26">
            <a:extLst>
              <a:ext uri="{FF2B5EF4-FFF2-40B4-BE49-F238E27FC236}">
                <a16:creationId xmlns:a16="http://schemas.microsoft.com/office/drawing/2014/main" id="{33FF18DC-7E97-410E-B94D-C73D52B0E234}"/>
              </a:ext>
            </a:extLst>
          </p:cNvPr>
          <p:cNvSpPr/>
          <p:nvPr/>
        </p:nvSpPr>
        <p:spPr>
          <a:xfrm>
            <a:off x="6788199" y="3760269"/>
            <a:ext cx="392762" cy="1846301"/>
          </a:xfrm>
          <a:prstGeom prst="rightBrace">
            <a:avLst>
              <a:gd name="adj1" fmla="val 8333"/>
              <a:gd name="adj2" fmla="val 48823"/>
            </a:avLst>
          </a:prstGeom>
          <a:ln>
            <a:solidFill>
              <a:srgbClr val="006C6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A8A55145-4109-4DDF-B44F-8B3353421755}"/>
              </a:ext>
            </a:extLst>
          </p:cNvPr>
          <p:cNvCxnSpPr/>
          <p:nvPr/>
        </p:nvCxnSpPr>
        <p:spPr>
          <a:xfrm flipV="1">
            <a:off x="4543832" y="4260019"/>
            <a:ext cx="380443" cy="163678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08CAD9CF-28CD-45B3-B244-761926DE1C92}"/>
              </a:ext>
            </a:extLst>
          </p:cNvPr>
          <p:cNvCxnSpPr>
            <a:stCxn id="6" idx="3"/>
            <a:endCxn id="7" idx="1"/>
          </p:cNvCxnSpPr>
          <p:nvPr/>
        </p:nvCxnSpPr>
        <p:spPr>
          <a:xfrm flipV="1">
            <a:off x="2609851" y="4648237"/>
            <a:ext cx="271867" cy="2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82D92B3E-5259-46A9-B22C-8853E3651786}"/>
              </a:ext>
            </a:extLst>
          </p:cNvPr>
          <p:cNvCxnSpPr/>
          <p:nvPr/>
        </p:nvCxnSpPr>
        <p:spPr>
          <a:xfrm>
            <a:off x="4543832" y="4920611"/>
            <a:ext cx="380443" cy="143973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AE4FF15D-F869-41FF-A2AC-5E0A2469C1CC}"/>
              </a:ext>
            </a:extLst>
          </p:cNvPr>
          <p:cNvCxnSpPr>
            <a:stCxn id="18" idx="3"/>
            <a:endCxn id="21" idx="1"/>
          </p:cNvCxnSpPr>
          <p:nvPr/>
        </p:nvCxnSpPr>
        <p:spPr>
          <a:xfrm flipV="1">
            <a:off x="8955497" y="4744141"/>
            <a:ext cx="432312" cy="5637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44D4BAE1-FE06-4F7D-9FE9-B2D47A1088C3}"/>
              </a:ext>
            </a:extLst>
          </p:cNvPr>
          <p:cNvCxnSpPr>
            <a:endCxn id="18" idx="0"/>
          </p:cNvCxnSpPr>
          <p:nvPr/>
        </p:nvCxnSpPr>
        <p:spPr>
          <a:xfrm>
            <a:off x="8231513" y="4260019"/>
            <a:ext cx="1" cy="169316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D3DD0C4-36AE-4170-9F6F-7DB09CADD486}"/>
              </a:ext>
            </a:extLst>
          </p:cNvPr>
          <p:cNvCxnSpPr>
            <a:stCxn id="18" idx="2"/>
            <a:endCxn id="20" idx="0"/>
          </p:cNvCxnSpPr>
          <p:nvPr/>
        </p:nvCxnSpPr>
        <p:spPr>
          <a:xfrm>
            <a:off x="8231514" y="5070221"/>
            <a:ext cx="1" cy="169317"/>
          </a:xfrm>
          <a:prstGeom prst="line">
            <a:avLst/>
          </a:prstGeom>
          <a:ln w="19050" cmpd="sng"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2E154F-3CF3-4F80-9CE1-5AF2A5D8DC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2CA52BE-2DDF-47E9-B828-071BFFCA59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5255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DF8BD-C3E5-4CD6-A03D-0ADFEDEB42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618931"/>
          </a:xfrm>
        </p:spPr>
        <p:txBody>
          <a:bodyPr/>
          <a:lstStyle/>
          <a:p>
            <a:r>
              <a:rPr lang="en-US" dirty="0"/>
              <a:t>Network structure of dataset </a:t>
            </a:r>
          </a:p>
        </p:txBody>
      </p:sp>
      <p:pic>
        <p:nvPicPr>
          <p:cNvPr id="6" name="Graphic 5" descr="Woman">
            <a:extLst>
              <a:ext uri="{FF2B5EF4-FFF2-40B4-BE49-F238E27FC236}">
                <a16:creationId xmlns:a16="http://schemas.microsoft.com/office/drawing/2014/main" id="{9A07871D-4114-4925-980A-E7DA48BCE25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97946" y="3371579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8930235-8C7A-4311-BAFF-D32CE6B73D38}"/>
              </a:ext>
            </a:extLst>
          </p:cNvPr>
          <p:cNvSpPr txBox="1"/>
          <p:nvPr/>
        </p:nvSpPr>
        <p:spPr>
          <a:xfrm>
            <a:off x="1028779" y="5706988"/>
            <a:ext cx="1918262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Respondents N=244 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E1DCB42-4A87-4AA4-A30D-D430A7E2720C}"/>
              </a:ext>
            </a:extLst>
          </p:cNvPr>
          <p:cNvCxnSpPr>
            <a:cxnSpLocks/>
            <a:endCxn id="14" idx="1"/>
          </p:cNvCxnSpPr>
          <p:nvPr/>
        </p:nvCxnSpPr>
        <p:spPr>
          <a:xfrm flipV="1">
            <a:off x="2245605" y="2636701"/>
            <a:ext cx="3171284" cy="910730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F041B6D8-C5AA-4FCD-A0E3-D4623FB193C0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2258457" y="3823218"/>
            <a:ext cx="3158432" cy="11150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9C92636-7C39-4B42-9D6B-0E406B0076A9}"/>
              </a:ext>
            </a:extLst>
          </p:cNvPr>
          <p:cNvCxnSpPr>
            <a:cxnSpLocks/>
            <a:endCxn id="17" idx="1"/>
          </p:cNvCxnSpPr>
          <p:nvPr/>
        </p:nvCxnSpPr>
        <p:spPr>
          <a:xfrm>
            <a:off x="2212346" y="4115289"/>
            <a:ext cx="3196840" cy="754563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 descr="Woman">
            <a:extLst>
              <a:ext uri="{FF2B5EF4-FFF2-40B4-BE49-F238E27FC236}">
                <a16:creationId xmlns:a16="http://schemas.microsoft.com/office/drawing/2014/main" id="{BA780C62-94E2-495D-99D3-AF6175DBA3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6889" y="2179501"/>
            <a:ext cx="914400" cy="914400"/>
          </a:xfrm>
          <a:prstGeom prst="rect">
            <a:avLst/>
          </a:prstGeom>
        </p:spPr>
      </p:pic>
      <p:pic>
        <p:nvPicPr>
          <p:cNvPr id="15" name="Graphic 14" descr="Woman">
            <a:extLst>
              <a:ext uri="{FF2B5EF4-FFF2-40B4-BE49-F238E27FC236}">
                <a16:creationId xmlns:a16="http://schemas.microsoft.com/office/drawing/2014/main" id="{C6CCAF49-FAE6-4B03-9DEE-C90A7D5A4F8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416889" y="3377168"/>
            <a:ext cx="914400" cy="914400"/>
          </a:xfrm>
          <a:prstGeom prst="rect">
            <a:avLst/>
          </a:prstGeom>
        </p:spPr>
      </p:pic>
      <p:pic>
        <p:nvPicPr>
          <p:cNvPr id="17" name="Graphic 16" descr="Man">
            <a:extLst>
              <a:ext uri="{FF2B5EF4-FFF2-40B4-BE49-F238E27FC236}">
                <a16:creationId xmlns:a16="http://schemas.microsoft.com/office/drawing/2014/main" id="{9FE90A8B-4AAC-49A6-A2BE-44972E7201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409186" y="4412652"/>
            <a:ext cx="914400" cy="9144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422E2E0F-7D24-407E-9D83-8C4B0CE31BEF}"/>
              </a:ext>
            </a:extLst>
          </p:cNvPr>
          <p:cNvSpPr txBox="1"/>
          <p:nvPr/>
        </p:nvSpPr>
        <p:spPr>
          <a:xfrm>
            <a:off x="4875625" y="5718512"/>
            <a:ext cx="2440749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Network member N=482</a:t>
            </a: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D22F6536-DF48-4663-A896-A2BDCF1BE150}"/>
              </a:ext>
            </a:extLst>
          </p:cNvPr>
          <p:cNvCxnSpPr>
            <a:cxnSpLocks/>
          </p:cNvCxnSpPr>
          <p:nvPr/>
        </p:nvCxnSpPr>
        <p:spPr>
          <a:xfrm flipV="1">
            <a:off x="6338992" y="2651155"/>
            <a:ext cx="3371065" cy="1021030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290A01DA-0764-4E11-84AB-5035C6A6E688}"/>
              </a:ext>
            </a:extLst>
          </p:cNvPr>
          <p:cNvCxnSpPr>
            <a:cxnSpLocks/>
            <a:stCxn id="15" idx="3"/>
          </p:cNvCxnSpPr>
          <p:nvPr/>
        </p:nvCxnSpPr>
        <p:spPr>
          <a:xfrm flipV="1">
            <a:off x="6331289" y="3447400"/>
            <a:ext cx="3648365" cy="386968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14ECAEB-BECA-4D73-B16A-4009AECA7B2D}"/>
              </a:ext>
            </a:extLst>
          </p:cNvPr>
          <p:cNvCxnSpPr>
            <a:cxnSpLocks/>
          </p:cNvCxnSpPr>
          <p:nvPr/>
        </p:nvCxnSpPr>
        <p:spPr>
          <a:xfrm>
            <a:off x="6338992" y="3972778"/>
            <a:ext cx="3483697" cy="353756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8D4787DA-FB7B-4B96-9867-FC2B533EE912}"/>
              </a:ext>
            </a:extLst>
          </p:cNvPr>
          <p:cNvCxnSpPr>
            <a:cxnSpLocks/>
          </p:cNvCxnSpPr>
          <p:nvPr/>
        </p:nvCxnSpPr>
        <p:spPr>
          <a:xfrm>
            <a:off x="6338992" y="4145939"/>
            <a:ext cx="3550773" cy="1174601"/>
          </a:xfrm>
          <a:prstGeom prst="straightConnector1">
            <a:avLst/>
          </a:prstGeom>
          <a:ln w="19050" cmpd="sng">
            <a:prstDash val="dash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phic 34" descr="Child with balloon">
            <a:extLst>
              <a:ext uri="{FF2B5EF4-FFF2-40B4-BE49-F238E27FC236}">
                <a16:creationId xmlns:a16="http://schemas.microsoft.com/office/drawing/2014/main" id="{B35D302A-8738-4846-8500-7A021819C54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822689" y="2925205"/>
            <a:ext cx="817313" cy="817313"/>
          </a:xfrm>
          <a:prstGeom prst="rect">
            <a:avLst/>
          </a:prstGeom>
        </p:spPr>
      </p:pic>
      <p:pic>
        <p:nvPicPr>
          <p:cNvPr id="37" name="Graphic 36" descr="Baby crawling">
            <a:extLst>
              <a:ext uri="{FF2B5EF4-FFF2-40B4-BE49-F238E27FC236}">
                <a16:creationId xmlns:a16="http://schemas.microsoft.com/office/drawing/2014/main" id="{3C427AC6-66CF-4802-BD74-7D356C9AA40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39769" y="2080824"/>
            <a:ext cx="751457" cy="751457"/>
          </a:xfrm>
          <a:prstGeom prst="rect">
            <a:avLst/>
          </a:prstGeom>
        </p:spPr>
      </p:pic>
      <p:pic>
        <p:nvPicPr>
          <p:cNvPr id="38" name="Graphic 37" descr="Man">
            <a:extLst>
              <a:ext uri="{FF2B5EF4-FFF2-40B4-BE49-F238E27FC236}">
                <a16:creationId xmlns:a16="http://schemas.microsoft.com/office/drawing/2014/main" id="{6DF7F11F-831F-408B-96E8-70192E027E8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35414" y="4911670"/>
            <a:ext cx="806843" cy="806843"/>
          </a:xfrm>
          <a:prstGeom prst="rect">
            <a:avLst/>
          </a:prstGeom>
        </p:spPr>
      </p:pic>
      <p:pic>
        <p:nvPicPr>
          <p:cNvPr id="39" name="Graphic 38" descr="Woman">
            <a:extLst>
              <a:ext uri="{FF2B5EF4-FFF2-40B4-BE49-F238E27FC236}">
                <a16:creationId xmlns:a16="http://schemas.microsoft.com/office/drawing/2014/main" id="{435810F3-7E18-4F86-90C1-72EC6737AF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35414" y="3939394"/>
            <a:ext cx="817313" cy="817313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50B2E6A3-13C0-4498-8784-C285FF7B90DD}"/>
              </a:ext>
            </a:extLst>
          </p:cNvPr>
          <p:cNvSpPr txBox="1"/>
          <p:nvPr/>
        </p:nvSpPr>
        <p:spPr>
          <a:xfrm>
            <a:off x="8803513" y="5718512"/>
            <a:ext cx="244075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Reported children N=883 </a:t>
            </a:r>
          </a:p>
        </p:txBody>
      </p:sp>
      <p:pic>
        <p:nvPicPr>
          <p:cNvPr id="23" name="Graphic 22" descr="Man">
            <a:extLst>
              <a:ext uri="{FF2B5EF4-FFF2-40B4-BE49-F238E27FC236}">
                <a16:creationId xmlns:a16="http://schemas.microsoft.com/office/drawing/2014/main" id="{1EE26DAB-2D18-402C-A74C-D004BE6997A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84430" y="3377168"/>
            <a:ext cx="914399" cy="91439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526EFA-FCD2-4EBA-9256-35D62EAAA1D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9D9315D-1669-4513-BF96-CC23CC7177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66540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7156633-3EDF-4D31-BC3E-77F392ECC325}"/>
              </a:ext>
            </a:extLst>
          </p:cNvPr>
          <p:cNvSpPr txBox="1"/>
          <p:nvPr/>
        </p:nvSpPr>
        <p:spPr>
          <a:xfrm>
            <a:off x="6309969" y="2730884"/>
            <a:ext cx="4741208" cy="264033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b="1" dirty="0"/>
              <a:t>Do we find a similar representativeness issues as previous research? 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Our sample is also more likely to be male, tertiary-educated, and urban compared to probability-based survey data (Demographic Health Survey 2023)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Smaller gender or educational bias for network members 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45AB601-33FF-4C3B-B667-E101CD770E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812800"/>
            <a:ext cx="10296525" cy="1284288"/>
          </a:xfrm>
        </p:spPr>
        <p:txBody>
          <a:bodyPr/>
          <a:lstStyle/>
          <a:p>
            <a:r>
              <a:rPr lang="en-US" dirty="0"/>
              <a:t>Comparison of the composition of our sample to the Demographic Health surve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D1300B3-7551-4DBD-8758-4E5FCAF35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37" y="2097088"/>
            <a:ext cx="4934295" cy="4108900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252CE31-DD0C-463D-80C5-6056407ACAE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2AB0BE9-95BF-4034-8B80-AB34C5739D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68017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F2118-86AB-4377-B94B-43AF80590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of the composition of our sample to the Demographic Health surve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65F4BF-5869-4D47-BA1A-C81F4E1F2832}"/>
              </a:ext>
            </a:extLst>
          </p:cNvPr>
          <p:cNvSpPr txBox="1"/>
          <p:nvPr/>
        </p:nvSpPr>
        <p:spPr>
          <a:xfrm>
            <a:off x="6422950" y="2505536"/>
            <a:ext cx="4644571" cy="101758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Oversample young women (18-29) </a:t>
            </a:r>
          </a:p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Female respondents &amp; network member are more childless than the DHS sample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A0BA4E6-C0AD-46DC-828F-4E920A622A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737" y="2097086"/>
            <a:ext cx="5298471" cy="394765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6BC47E0-1820-4174-B1E6-1D2AB1EA088E}"/>
              </a:ext>
            </a:extLst>
          </p:cNvPr>
          <p:cNvSpPr/>
          <p:nvPr/>
        </p:nvSpPr>
        <p:spPr>
          <a:xfrm>
            <a:off x="1124465" y="3978876"/>
            <a:ext cx="5121743" cy="149516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FEC7BF-7C9C-4226-AC30-0A669D450C8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288B22-A277-4B91-9336-F2F555AE03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505255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F2118-86AB-4377-B94B-43AF80590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parison of the composition of our sample to the Demographic Health surve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065F4BF-5869-4D47-BA1A-C81F4E1F2832}"/>
              </a:ext>
            </a:extLst>
          </p:cNvPr>
          <p:cNvSpPr txBox="1"/>
          <p:nvPr/>
        </p:nvSpPr>
        <p:spPr>
          <a:xfrm>
            <a:off x="6422950" y="4104645"/>
            <a:ext cx="4644571" cy="131253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l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More urban population for women and no difference for men 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21% of male and 18% of female network members do not use Facebook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A0BA4E6-C0AD-46DC-828F-4E920A622A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737" y="2097086"/>
            <a:ext cx="5298471" cy="3947652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AD59C85-EEB1-4E4F-98C7-CC5AD077CC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8A93A8-BF96-40D4-A5F0-0447071C4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01355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4F2118-86AB-4377-B94B-43AF805903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675296"/>
          </a:xfrm>
        </p:spPr>
        <p:txBody>
          <a:bodyPr/>
          <a:lstStyle/>
          <a:p>
            <a:r>
              <a:rPr lang="en-US" dirty="0"/>
              <a:t>Age specific fertility rates for women compared to the Demographic Health surve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D88B201-F2FF-4B6C-9EB5-8F559BBEB7E5}"/>
              </a:ext>
            </a:extLst>
          </p:cNvPr>
          <p:cNvSpPr/>
          <p:nvPr/>
        </p:nvSpPr>
        <p:spPr>
          <a:xfrm>
            <a:off x="6586707" y="2375569"/>
            <a:ext cx="442810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dirty="0"/>
              <a:t>General underestimation of fertility in key reproductive age groups (20–34)</a:t>
            </a:r>
          </a:p>
          <a:p>
            <a:pPr algn="just"/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dirty="0"/>
              <a:t>Substantial overestimation at ages 45–49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en-US" dirty="0"/>
              <a:t>Next steps: Explore reporting structure &amp; weighting 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AF5FBC9-AF2C-46CC-B691-4382145A3F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739" y="2073803"/>
            <a:ext cx="5329721" cy="397093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A2DEBCF-1460-4B03-AF0F-C10B8C33C8BC}"/>
              </a:ext>
            </a:extLst>
          </p:cNvPr>
          <p:cNvSpPr txBox="1"/>
          <p:nvPr/>
        </p:nvSpPr>
        <p:spPr>
          <a:xfrm>
            <a:off x="947739" y="1775636"/>
            <a:ext cx="5032744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just"/>
            <a:r>
              <a:rPr lang="en-US" sz="1600" dirty="0"/>
              <a:t>Unweighted pooled estimates for the years 2018-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D4854C-41FB-4566-9989-EF3C811D75F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90D902-D4C5-4BE3-A071-C3CD9ABA6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63924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9F0FCF-12D5-4921-BDD5-C5BC4EBEF2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ke </a:t>
            </a:r>
            <a:r>
              <a:rPr lang="en-US" dirty="0" err="1"/>
              <a:t>aways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96288AE-D8A7-4AC9-8496-B3D0C6941376}"/>
              </a:ext>
            </a:extLst>
          </p:cNvPr>
          <p:cNvSpPr/>
          <p:nvPr/>
        </p:nvSpPr>
        <p:spPr>
          <a:xfrm>
            <a:off x="1016608" y="2097086"/>
            <a:ext cx="10227653" cy="38843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Incentives: </a:t>
            </a:r>
            <a:r>
              <a:rPr lang="en-US" dirty="0"/>
              <a:t>Improve participation in contexts where internet access is expensive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Algorithmic bias: </a:t>
            </a:r>
            <a:r>
              <a:rPr lang="en-US" dirty="0"/>
              <a:t>Targeting accuracy varies substantively by subnational region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Response quality: </a:t>
            </a:r>
            <a:r>
              <a:rPr lang="en-US" dirty="0"/>
              <a:t>More starting and item nonresponse error for capital region, but smaller for drop out error. 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Sample composition: </a:t>
            </a:r>
            <a:r>
              <a:rPr lang="en-US" dirty="0"/>
              <a:t>Over-representation of men, tertiary educated, and urban population &amp; Network samples appear less biased for gender and education</a:t>
            </a:r>
          </a:p>
          <a:p>
            <a:pPr marL="285750" indent="-285750">
              <a:lnSpc>
                <a:spcPct val="200000"/>
              </a:lnSpc>
              <a:buFont typeface="Wingdings" panose="05000000000000000000" pitchFamily="2" charset="2"/>
              <a:buChar char="Ø"/>
            </a:pPr>
            <a:r>
              <a:rPr lang="en-US" b="1" dirty="0"/>
              <a:t>Fertility estimation: </a:t>
            </a:r>
            <a:r>
              <a:rPr lang="en-US" dirty="0"/>
              <a:t>General underestimation of fertility with unweighted rates </a:t>
            </a:r>
            <a:r>
              <a:rPr lang="en-US" dirty="0">
                <a:sym typeface="Wingdings" panose="05000000000000000000" pitchFamily="2" charset="2"/>
              </a:rPr>
              <a:t> Weighting</a:t>
            </a:r>
            <a:endParaRPr lang="en-US" b="1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878BD3-4E5B-4039-9507-60CB27ECCC3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EB065BF-E94D-4597-9A41-D14538A4D5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82526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B03CFA32-856F-1246-B766-33665787BB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t="1544" b="23928"/>
          <a:stretch/>
        </p:blipFill>
        <p:spPr>
          <a:xfrm>
            <a:off x="1216025" y="2020711"/>
            <a:ext cx="9747249" cy="4086578"/>
          </a:xfrm>
          <a:solidFill>
            <a:srgbClr val="F1F1F1">
              <a:alpha val="60000"/>
            </a:srgbClr>
          </a:solidFill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09A902CE-A951-9349-884E-9C730D9F8AA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 for your attention!</a:t>
            </a:r>
          </a:p>
        </p:txBody>
      </p:sp>
      <p:sp>
        <p:nvSpPr>
          <p:cNvPr id="14" name="Untertitel 6">
            <a:extLst>
              <a:ext uri="{FF2B5EF4-FFF2-40B4-BE49-F238E27FC236}">
                <a16:creationId xmlns:a16="http://schemas.microsoft.com/office/drawing/2014/main" id="{D084D3FC-928A-1747-A9E7-597DCA09984F}"/>
              </a:ext>
            </a:extLst>
          </p:cNvPr>
          <p:cNvSpPr txBox="1">
            <a:spLocks/>
          </p:cNvSpPr>
          <p:nvPr/>
        </p:nvSpPr>
        <p:spPr>
          <a:xfrm>
            <a:off x="4603133" y="3562941"/>
            <a:ext cx="2622769" cy="14721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rgbClr val="006C66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4A5A453-0714-9B49-B700-ACB6D9B38A79}"/>
              </a:ext>
            </a:extLst>
          </p:cNvPr>
          <p:cNvSpPr txBox="1"/>
          <p:nvPr/>
        </p:nvSpPr>
        <p:spPr>
          <a:xfrm>
            <a:off x="1315245" y="3143542"/>
            <a:ext cx="8043358" cy="2108269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/>
            <a:r>
              <a:rPr lang="de-DE" b="1" dirty="0">
                <a:solidFill>
                  <a:srgbClr val="006C66"/>
                </a:solidFill>
              </a:rPr>
              <a:t>Jessica Donzowa</a:t>
            </a:r>
          </a:p>
          <a:p>
            <a:pPr lvl="0"/>
            <a:endParaRPr lang="de-DE" sz="900" b="1" dirty="0">
              <a:solidFill>
                <a:srgbClr val="006C66"/>
              </a:solidFill>
            </a:endParaRPr>
          </a:p>
          <a:p>
            <a:pPr lvl="0"/>
            <a:r>
              <a:rPr lang="en-US" dirty="0"/>
              <a:t>Doctoral Researcher</a:t>
            </a:r>
          </a:p>
          <a:p>
            <a:pPr lvl="0"/>
            <a:endParaRPr lang="en-US" sz="600" dirty="0"/>
          </a:p>
          <a:p>
            <a:pPr lvl="0"/>
            <a:r>
              <a:rPr lang="en-US" dirty="0"/>
              <a:t>Department of Digital and Computational Demography | Max Planck Institute for Demographic Research</a:t>
            </a:r>
            <a:endParaRPr lang="de-DE" sz="600" b="1" dirty="0">
              <a:solidFill>
                <a:srgbClr val="006C66"/>
              </a:solidFill>
            </a:endParaRPr>
          </a:p>
          <a:p>
            <a:pPr lvl="0"/>
            <a:r>
              <a:rPr lang="de-DE" dirty="0"/>
              <a:t>Faculty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ociology</a:t>
            </a:r>
            <a:r>
              <a:rPr lang="de-DE" dirty="0"/>
              <a:t> | Bielefeld University </a:t>
            </a:r>
          </a:p>
          <a:p>
            <a:pPr lvl="0"/>
            <a:endParaRPr lang="de-DE" sz="1600" b="1" dirty="0">
              <a:solidFill>
                <a:srgbClr val="006C66"/>
              </a:solidFill>
            </a:endParaRPr>
          </a:p>
          <a:p>
            <a:pPr lvl="0"/>
            <a:endParaRPr lang="de-DE" sz="1600" b="1" dirty="0">
              <a:solidFill>
                <a:srgbClr val="006C6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F478C5B-ADE4-4674-8CAB-98B2782356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5902" y="516833"/>
            <a:ext cx="2346387" cy="135409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29B5557-E571-4132-8795-D1D0B11CE4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85080" y="5071443"/>
            <a:ext cx="618851" cy="5262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D1A13DA-37F2-4E0D-91A0-B1A6564263C0}"/>
              </a:ext>
            </a:extLst>
          </p:cNvPr>
          <p:cNvSpPr txBox="1"/>
          <p:nvPr/>
        </p:nvSpPr>
        <p:spPr>
          <a:xfrm>
            <a:off x="8106285" y="5138134"/>
            <a:ext cx="2439550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lnSpc>
                <a:spcPts val="2300"/>
              </a:lnSpc>
              <a:spcBef>
                <a:spcPts val="1150"/>
              </a:spcBef>
            </a:pPr>
            <a:r>
              <a:rPr lang="en-US" sz="1600" dirty="0"/>
              <a:t>@</a:t>
            </a:r>
            <a:r>
              <a:rPr lang="en-US" sz="1600" dirty="0" err="1"/>
              <a:t>jdonzowa.bsky.social</a:t>
            </a:r>
            <a:endParaRPr lang="en-US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AA3A47-B7CC-44A0-8FC8-9CBFB26C2854}"/>
              </a:ext>
            </a:extLst>
          </p:cNvPr>
          <p:cNvSpPr txBox="1"/>
          <p:nvPr/>
        </p:nvSpPr>
        <p:spPr>
          <a:xfrm>
            <a:off x="2141839" y="5195184"/>
            <a:ext cx="2622769" cy="24622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0"/>
            <a:r>
              <a:rPr lang="en-US" sz="1600" dirty="0"/>
              <a:t>donzowa@demogr.mpg.de</a:t>
            </a:r>
          </a:p>
        </p:txBody>
      </p:sp>
      <p:pic>
        <p:nvPicPr>
          <p:cNvPr id="9" name="Graphic 8" descr="Envelope">
            <a:extLst>
              <a:ext uri="{FF2B5EF4-FFF2-40B4-BE49-F238E27FC236}">
                <a16:creationId xmlns:a16="http://schemas.microsoft.com/office/drawing/2014/main" id="{DBDAF914-DBDE-45E4-9FDB-9277D1724D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69892" y="5068798"/>
            <a:ext cx="530868" cy="530868"/>
          </a:xfrm>
          <a:prstGeom prst="rect">
            <a:avLst/>
          </a:prstGeom>
        </p:spPr>
      </p:pic>
      <p:pic>
        <p:nvPicPr>
          <p:cNvPr id="13" name="Picture 2" descr="File:Bluesky Logo.svg">
            <a:extLst>
              <a:ext uri="{FF2B5EF4-FFF2-40B4-BE49-F238E27FC236}">
                <a16:creationId xmlns:a16="http://schemas.microsoft.com/office/drawing/2014/main" id="{60FA9685-9001-416D-ADDA-4BE49BA4A1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5326" y="5068798"/>
            <a:ext cx="547814" cy="483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B002C14-1806-4441-88B8-E97673B642D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04915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98B8F4-3705-4C48-9747-4B01315A1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679636"/>
          </a:xfrm>
        </p:spPr>
        <p:txBody>
          <a:bodyPr/>
          <a:lstStyle/>
          <a:p>
            <a:r>
              <a:rPr lang="en-US" dirty="0"/>
              <a:t>Data Availability Challenges for Vital Statistics in Sub-Saharan Africa</a:t>
            </a:r>
            <a:endParaRPr lang="en-US" b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75C64E-4D68-45CE-9ACE-D72DDB6606E7}"/>
              </a:ext>
            </a:extLst>
          </p:cNvPr>
          <p:cNvSpPr txBox="1"/>
          <p:nvPr/>
        </p:nvSpPr>
        <p:spPr>
          <a:xfrm>
            <a:off x="947739" y="2351419"/>
            <a:ext cx="7438797" cy="36933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b="1" dirty="0"/>
              <a:t>Lack of civil registration systems</a:t>
            </a:r>
            <a:r>
              <a:rPr lang="en-US" dirty="0"/>
              <a:t>: Only 44% of births in Africa are registered compared to 98% in Europe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Civil Registration and Vital Statistics, 2024)</a:t>
            </a:r>
          </a:p>
          <a:p>
            <a:pPr marL="285750" indent="-285750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b="1" dirty="0"/>
              <a:t>Slow progress in vital registration expansion: </a:t>
            </a:r>
            <a:r>
              <a:rPr lang="en-US" dirty="0"/>
              <a:t>Between 1980 and 2015, global vital registration coverage increased by only 2.4%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Mikkelsen et al., 2015)</a:t>
            </a:r>
          </a:p>
          <a:p>
            <a:pPr marL="285750" indent="-285750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b="1" dirty="0"/>
              <a:t>Reliance on large-scale surveys</a:t>
            </a:r>
            <a:r>
              <a:rPr lang="en-US" dirty="0"/>
              <a:t>: Countries without registration systems depend on large-scale surveys, which are costly &amp; infrequent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</a:t>
            </a:r>
            <a:r>
              <a:rPr lang="en-US" sz="1600" dirty="0" err="1">
                <a:solidFill>
                  <a:schemeClr val="bg1">
                    <a:lumMod val="65000"/>
                  </a:schemeClr>
                </a:solidFill>
              </a:rPr>
              <a:t>Jerven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, 2014; Cori et al., 2020)</a:t>
            </a:r>
          </a:p>
          <a:p>
            <a:pPr marL="285750" indent="-285750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b="1" dirty="0"/>
              <a:t>Digital solutions for data collection: </a:t>
            </a:r>
            <a:r>
              <a:rPr lang="en-US" dirty="0"/>
              <a:t>Social media-based surveys offer a potential alternative for faster and cost-effective data collection but face coverage challenges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Zindel, 2023; Kühne &amp; Zindel, 2020)</a:t>
            </a:r>
          </a:p>
        </p:txBody>
      </p:sp>
      <p:pic>
        <p:nvPicPr>
          <p:cNvPr id="11" name="Graphic 10" descr="Africa">
            <a:extLst>
              <a:ext uri="{FF2B5EF4-FFF2-40B4-BE49-F238E27FC236}">
                <a16:creationId xmlns:a16="http://schemas.microsoft.com/office/drawing/2014/main" id="{9811A8EA-11C3-4777-9873-EC29C0EC39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64586" y="2299002"/>
            <a:ext cx="3461718" cy="3461718"/>
          </a:xfrm>
          <a:prstGeom prst="rect">
            <a:avLst/>
          </a:prstGeom>
        </p:spPr>
      </p:pic>
      <p:pic>
        <p:nvPicPr>
          <p:cNvPr id="13" name="Graphic 12" descr="Research">
            <a:extLst>
              <a:ext uri="{FF2B5EF4-FFF2-40B4-BE49-F238E27FC236}">
                <a16:creationId xmlns:a16="http://schemas.microsoft.com/office/drawing/2014/main" id="{296438E0-A34F-4152-B4C0-0033708169A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41090" y="2760002"/>
            <a:ext cx="1830659" cy="1830659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CD35D4E-9066-41F9-97C5-D63FEC694A6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2BFF60-8B23-40F9-9C28-00D47CABFD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603688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A14D0-1C2D-4651-BA1A-B28644B0D3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 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9A49AEC-2DFF-4471-B57C-93D78AFA3C2D}"/>
              </a:ext>
            </a:extLst>
          </p:cNvPr>
          <p:cNvSpPr txBox="1"/>
          <p:nvPr/>
        </p:nvSpPr>
        <p:spPr>
          <a:xfrm>
            <a:off x="947736" y="2095406"/>
            <a:ext cx="10303737" cy="406265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Bernard, H. R. et al. (Dec. 2010). “Counting Hard-to-Count Populations: The Network Scale-up Method for Public Health”. In: Sexually Transmitted Infections 86.Suppl 2, pp. ii11–ii15. </a:t>
            </a:r>
            <a:r>
              <a:rPr lang="en-US" sz="1400" dirty="0" err="1">
                <a:latin typeface="Arial Narrow" panose="020B0606020202030204" pitchFamily="34" charset="0"/>
              </a:rPr>
              <a:t>issn</a:t>
            </a:r>
            <a:r>
              <a:rPr lang="en-US" sz="1400" dirty="0">
                <a:latin typeface="Arial Narrow" panose="020B0606020202030204" pitchFamily="34" charset="0"/>
              </a:rPr>
              <a:t>: 1368-4973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1136/sti.2010.044446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Civil registration and vital statistics (2024). </a:t>
            </a:r>
            <a:r>
              <a:rPr lang="en-US" sz="1400" dirty="0" err="1">
                <a:latin typeface="Arial Narrow" panose="020B0606020202030204" pitchFamily="34" charset="0"/>
              </a:rPr>
              <a:t>en</a:t>
            </a:r>
            <a:r>
              <a:rPr lang="en-US" sz="1400" dirty="0">
                <a:latin typeface="Arial Narrow" panose="020B0606020202030204" pitchFamily="34" charset="0"/>
              </a:rPr>
              <a:t>. url: https://www.who.int/news-room/fact- sheets/detail/civil- registration- and- vital- statistics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Cori, Liliana et al. (Jan. 2020). “Risk Perception and COVID-19”. In: International Journal of Environmental Research and Public Health 17.9, p. 3114. </a:t>
            </a:r>
            <a:r>
              <a:rPr lang="en-US" sz="1400" dirty="0" err="1">
                <a:latin typeface="Arial Narrow" panose="020B0606020202030204" pitchFamily="34" charset="0"/>
              </a:rPr>
              <a:t>issn</a:t>
            </a:r>
            <a:r>
              <a:rPr lang="en-US" sz="1400" dirty="0">
                <a:latin typeface="Arial Narrow" panose="020B0606020202030204" pitchFamily="34" charset="0"/>
              </a:rPr>
              <a:t>: 1660-4601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3390/ijerph17093114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 err="1">
                <a:latin typeface="Arial Narrow" panose="020B0606020202030204" pitchFamily="34" charset="0"/>
              </a:rPr>
              <a:t>Fatehkia</a:t>
            </a:r>
            <a:r>
              <a:rPr lang="en-US" sz="1400" dirty="0">
                <a:latin typeface="Arial Narrow" panose="020B0606020202030204" pitchFamily="34" charset="0"/>
              </a:rPr>
              <a:t>, </a:t>
            </a:r>
            <a:r>
              <a:rPr lang="en-US" sz="1400" dirty="0" err="1">
                <a:latin typeface="Arial Narrow" panose="020B0606020202030204" pitchFamily="34" charset="0"/>
              </a:rPr>
              <a:t>Masoomali</a:t>
            </a:r>
            <a:r>
              <a:rPr lang="en-US" sz="1400" dirty="0">
                <a:latin typeface="Arial Narrow" panose="020B0606020202030204" pitchFamily="34" charset="0"/>
              </a:rPr>
              <a:t>, Ridhi Kashyap, and Ingmar Weber (July 2018). “Using Face-book Ad Data to Track the Global Digital Gender Gap”. In: World Development107, pp. 189–209. </a:t>
            </a:r>
            <a:r>
              <a:rPr lang="en-US" sz="1400" dirty="0" err="1">
                <a:latin typeface="Arial Narrow" panose="020B0606020202030204" pitchFamily="34" charset="0"/>
              </a:rPr>
              <a:t>issn</a:t>
            </a:r>
            <a:r>
              <a:rPr lang="en-US" sz="1400" dirty="0">
                <a:latin typeface="Arial Narrow" panose="020B0606020202030204" pitchFamily="34" charset="0"/>
              </a:rPr>
              <a:t>: 0305750X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1016/j.worlddev.2018.03.007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Feehan, Dennis M. and Curtiss Cobb (Dec. 2019a). “Using an Online Sample to Estimate the Size of an Offline Population”. In: Demography 56.6, pp. 2377–2392. </a:t>
            </a:r>
            <a:r>
              <a:rPr lang="en-US" sz="1400" dirty="0" err="1">
                <a:latin typeface="Arial Narrow" panose="020B0606020202030204" pitchFamily="34" charset="0"/>
              </a:rPr>
              <a:t>issn</a:t>
            </a:r>
            <a:r>
              <a:rPr lang="en-US" sz="1400" dirty="0">
                <a:latin typeface="Arial Narrow" panose="020B0606020202030204" pitchFamily="34" charset="0"/>
              </a:rPr>
              <a:t>: 0070-3370, 1533-7790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1007/s13524-019-00840-z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Feehan, Dennis M., Aline </a:t>
            </a:r>
            <a:r>
              <a:rPr lang="en-US" sz="1400" dirty="0" err="1">
                <a:latin typeface="Arial Narrow" panose="020B0606020202030204" pitchFamily="34" charset="0"/>
              </a:rPr>
              <a:t>Umubyeyi</a:t>
            </a:r>
            <a:r>
              <a:rPr lang="en-US" sz="1400" dirty="0">
                <a:latin typeface="Arial Narrow" panose="020B0606020202030204" pitchFamily="34" charset="0"/>
              </a:rPr>
              <a:t>, et al. (Apr. 2016). “Quantity Versus Quality: A Survey Experiment to Improve the Network Scale-up Method”. In: Am. </a:t>
            </a:r>
            <a:r>
              <a:rPr lang="en-US" sz="1400" dirty="0" err="1">
                <a:latin typeface="Arial Narrow" panose="020B0606020202030204" pitchFamily="34" charset="0"/>
              </a:rPr>
              <a:t>J.Epidemiol</a:t>
            </a:r>
            <a:r>
              <a:rPr lang="en-US" sz="1400" dirty="0">
                <a:latin typeface="Arial Narrow" panose="020B0606020202030204" pitchFamily="34" charset="0"/>
              </a:rPr>
              <a:t>. 183.8, pp. 747–757. </a:t>
            </a:r>
            <a:r>
              <a:rPr lang="en-US" sz="1400" dirty="0" err="1">
                <a:latin typeface="Arial Narrow" panose="020B0606020202030204" pitchFamily="34" charset="0"/>
              </a:rPr>
              <a:t>issn</a:t>
            </a:r>
            <a:r>
              <a:rPr lang="en-US" sz="1400" dirty="0">
                <a:latin typeface="Arial Narrow" panose="020B0606020202030204" pitchFamily="34" charset="0"/>
              </a:rPr>
              <a:t>: 0002-9262, 1476-6256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1093/</a:t>
            </a:r>
            <a:r>
              <a:rPr lang="en-US" sz="1400" dirty="0" err="1">
                <a:latin typeface="Arial Narrow" panose="020B0606020202030204" pitchFamily="34" charset="0"/>
              </a:rPr>
              <a:t>aje</a:t>
            </a:r>
            <a:r>
              <a:rPr lang="en-US" sz="1400" dirty="0">
                <a:latin typeface="Arial Narrow" panose="020B0606020202030204" pitchFamily="34" charset="0"/>
              </a:rPr>
              <a:t>/kwv287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 err="1">
                <a:latin typeface="Arial Narrow" panose="020B0606020202030204" pitchFamily="34" charset="0"/>
              </a:rPr>
              <a:t>Jerven</a:t>
            </a:r>
            <a:r>
              <a:rPr lang="en-US" sz="1400" dirty="0">
                <a:latin typeface="Arial Narrow" panose="020B0606020202030204" pitchFamily="34" charset="0"/>
              </a:rPr>
              <a:t>, Morten (2014). “Poor Numbers and What to Do about Them”. In: p. 2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 err="1">
                <a:latin typeface="Arial Narrow" panose="020B0606020202030204" pitchFamily="34" charset="0"/>
              </a:rPr>
              <a:t>Killworth</a:t>
            </a:r>
            <a:r>
              <a:rPr lang="en-US" sz="1400" dirty="0">
                <a:latin typeface="Arial Narrow" panose="020B0606020202030204" pitchFamily="34" charset="0"/>
              </a:rPr>
              <a:t>, Peter D. et al. (Apr. 1998). “Estimation of Seroprevalence, Rape, and Homelessness in the United States Using a Social Network Approach”. In: </a:t>
            </a:r>
            <a:r>
              <a:rPr lang="en-US" sz="1400" dirty="0" err="1">
                <a:latin typeface="Arial Narrow" panose="020B0606020202030204" pitchFamily="34" charset="0"/>
              </a:rPr>
              <a:t>EvalRev</a:t>
            </a:r>
            <a:r>
              <a:rPr lang="en-US" sz="1400" dirty="0">
                <a:latin typeface="Arial Narrow" panose="020B0606020202030204" pitchFamily="34" charset="0"/>
              </a:rPr>
              <a:t> 22.2, pp. 289–308. </a:t>
            </a:r>
            <a:r>
              <a:rPr lang="en-US" sz="1400" dirty="0" err="1">
                <a:latin typeface="Arial Narrow" panose="020B0606020202030204" pitchFamily="34" charset="0"/>
              </a:rPr>
              <a:t>issn</a:t>
            </a:r>
            <a:r>
              <a:rPr lang="en-US" sz="1400" dirty="0">
                <a:latin typeface="Arial Narrow" panose="020B0606020202030204" pitchFamily="34" charset="0"/>
              </a:rPr>
              <a:t>: 0193-841X, 1552-3926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1177/0193841X9802200205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Kühne, Simon and Zaza Zindel (Dec. 2020). “Using Facebook and Instagram to Recruit Web Survey Participants: A Step-by-Step Guide and Application”. In: Survey Methods: Insights from the Field (SMIF). </a:t>
            </a:r>
            <a:r>
              <a:rPr lang="en-US" sz="1400" dirty="0" err="1">
                <a:latin typeface="Arial Narrow" panose="020B0606020202030204" pitchFamily="34" charset="0"/>
              </a:rPr>
              <a:t>issn</a:t>
            </a:r>
            <a:r>
              <a:rPr lang="en-US" sz="1400" dirty="0">
                <a:latin typeface="Arial Narrow" panose="020B0606020202030204" pitchFamily="34" charset="0"/>
              </a:rPr>
              <a:t>: 2296-4754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13094/SMIF-2020-00017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2AA001-955A-4FCD-B58B-723D302D13B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4D1FAC-82E1-4947-9DED-9CE2F969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49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20A77-6454-4297-99E2-9F9D7A729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41C4185-0E97-4A3D-9BE9-D009CD62984C}"/>
              </a:ext>
            </a:extLst>
          </p:cNvPr>
          <p:cNvSpPr txBox="1"/>
          <p:nvPr/>
        </p:nvSpPr>
        <p:spPr>
          <a:xfrm>
            <a:off x="947734" y="2097086"/>
            <a:ext cx="10296521" cy="36933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 err="1">
                <a:latin typeface="Arial Narrow" panose="020B0606020202030204" pitchFamily="34" charset="0"/>
              </a:rPr>
              <a:t>McGeer</a:t>
            </a:r>
            <a:r>
              <a:rPr lang="en-US" sz="1400" dirty="0">
                <a:latin typeface="Arial Narrow" panose="020B0606020202030204" pitchFamily="34" charset="0"/>
              </a:rPr>
              <a:t>, Caitlyn and Nicole </a:t>
            </a:r>
            <a:r>
              <a:rPr lang="en-US" sz="1400" dirty="0" err="1">
                <a:latin typeface="Arial Narrow" panose="020B0606020202030204" pitchFamily="34" charset="0"/>
              </a:rPr>
              <a:t>Stremlau</a:t>
            </a:r>
            <a:r>
              <a:rPr lang="en-US" sz="1400" dirty="0">
                <a:latin typeface="Arial Narrow" panose="020B0606020202030204" pitchFamily="34" charset="0"/>
              </a:rPr>
              <a:t> (2024). “Researching hate speech online: Exploring the potential and limitations of Facebook as a survey tool in Africa”. </a:t>
            </a:r>
            <a:r>
              <a:rPr lang="en-US" sz="1400" dirty="0" err="1">
                <a:latin typeface="Arial Narrow" panose="020B0606020202030204" pitchFamily="34" charset="0"/>
              </a:rPr>
              <a:t>en</a:t>
            </a:r>
            <a:r>
              <a:rPr lang="en-US" sz="1400" dirty="0">
                <a:latin typeface="Arial Narrow" panose="020B0606020202030204" pitchFamily="34" charset="0"/>
              </a:rPr>
              <a:t>. In: Methodological Innovations 17.3, pp. 172–186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1177/20597991241264838.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Mikkelsen, Lene et al. (Oct. 2015). “A global assessment of civil registration and vital statistics systems: monitoring data quality and progress”. </a:t>
            </a:r>
            <a:r>
              <a:rPr lang="en-US" sz="1400" dirty="0" err="1">
                <a:latin typeface="Arial Narrow" panose="020B0606020202030204" pitchFamily="34" charset="0"/>
              </a:rPr>
              <a:t>en</a:t>
            </a:r>
            <a:r>
              <a:rPr lang="en-US" sz="1400" dirty="0">
                <a:latin typeface="Arial Narrow" panose="020B0606020202030204" pitchFamily="34" charset="0"/>
              </a:rPr>
              <a:t>. In: The Lancet386.10001, pp. 1395–1406. </a:t>
            </a:r>
            <a:r>
              <a:rPr lang="en-US" sz="1400" dirty="0" err="1">
                <a:latin typeface="Arial Narrow" panose="020B0606020202030204" pitchFamily="34" charset="0"/>
              </a:rPr>
              <a:t>issn</a:t>
            </a:r>
            <a:r>
              <a:rPr lang="en-US" sz="1400" dirty="0">
                <a:latin typeface="Arial Narrow" panose="020B0606020202030204" pitchFamily="34" charset="0"/>
              </a:rPr>
              <a:t>: 01406736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 . 1016 / S0140 - 6736(15 )60171-4. 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Pham, Katherine Hoffmann, Francesco Rampazzo, and Leah R. Rosenzweig (Oct.2019). “Online Surveys and Digital Demography in the Developing World: Face-book Users in Kenya”. In: arXiv:1910.03448 [cs]. 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Rosenzweig, Leah R et al. (Oct. 2020). Survey Sampling in the Global South Using Facebook Advertisements. Preprint. </a:t>
            </a:r>
            <a:r>
              <a:rPr lang="en-US" sz="1400" dirty="0" err="1">
                <a:latin typeface="Arial Narrow" panose="020B0606020202030204" pitchFamily="34" charset="0"/>
              </a:rPr>
              <a:t>SocArXiv</a:t>
            </a:r>
            <a:r>
              <a:rPr lang="en-US" sz="1400" dirty="0">
                <a:latin typeface="Arial Narrow" panose="020B0606020202030204" pitchFamily="34" charset="0"/>
              </a:rPr>
              <a:t>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31235/osf.io/dka8f.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Rosenzweig, Leah R. and Yang-Yang Zhou (Mar. 2021). “Team and Nation: Sports, Nationalism, and Attitudes Toward Refugees:” in: Comparative Political Studies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1177/0010414021997498.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 err="1">
                <a:latin typeface="Arial Narrow" panose="020B0606020202030204" pitchFamily="34" charset="0"/>
              </a:rPr>
              <a:t>Soehl</a:t>
            </a:r>
            <a:r>
              <a:rPr lang="en-US" sz="1400" dirty="0">
                <a:latin typeface="Arial Narrow" panose="020B0606020202030204" pitchFamily="34" charset="0"/>
              </a:rPr>
              <a:t>, Thomas, </a:t>
            </a:r>
            <a:r>
              <a:rPr lang="en-US" sz="1400" dirty="0" err="1">
                <a:latin typeface="Arial Narrow" panose="020B0606020202030204" pitchFamily="34" charset="0"/>
              </a:rPr>
              <a:t>Zhenxiang</a:t>
            </a:r>
            <a:r>
              <a:rPr lang="en-US" sz="1400" dirty="0">
                <a:latin typeface="Arial Narrow" panose="020B0606020202030204" pitchFamily="34" charset="0"/>
              </a:rPr>
              <a:t> Chen, and Aaron </a:t>
            </a:r>
            <a:r>
              <a:rPr lang="en-US" sz="1400" dirty="0" err="1">
                <a:latin typeface="Arial Narrow" panose="020B0606020202030204" pitchFamily="34" charset="0"/>
              </a:rPr>
              <a:t>Erlich</a:t>
            </a:r>
            <a:r>
              <a:rPr lang="en-US" sz="1400" dirty="0">
                <a:latin typeface="Arial Narrow" panose="020B0606020202030204" pitchFamily="34" charset="0"/>
              </a:rPr>
              <a:t> (July 2024). “Promises and Limits of Using Targeted Social Media Advertising to Sample Global Migrant Populations: Nigerians at Home and Abroad”. </a:t>
            </a:r>
            <a:r>
              <a:rPr lang="en-US" sz="1400" dirty="0" err="1">
                <a:latin typeface="Arial Narrow" panose="020B0606020202030204" pitchFamily="34" charset="0"/>
              </a:rPr>
              <a:t>en</a:t>
            </a:r>
            <a:r>
              <a:rPr lang="en-US" sz="1400" dirty="0">
                <a:latin typeface="Arial Narrow" panose="020B0606020202030204" pitchFamily="34" charset="0"/>
              </a:rPr>
              <a:t>. In: Sociological Methods &amp;Research. Publisher: SAGE Publications Sage CA: Los Angeles, CA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 .1177/00491241241266634. url: </a:t>
            </a: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Ø"/>
            </a:pPr>
            <a:r>
              <a:rPr lang="en-US" sz="1400" dirty="0">
                <a:latin typeface="Arial Narrow" panose="020B0606020202030204" pitchFamily="34" charset="0"/>
              </a:rPr>
              <a:t>Zindel, Zaza (2023). “Social Media Recruitment in Online Survey Research: A Systematic Literature Review”. </a:t>
            </a:r>
            <a:r>
              <a:rPr lang="en-US" sz="1400" dirty="0" err="1">
                <a:latin typeface="Arial Narrow" panose="020B0606020202030204" pitchFamily="34" charset="0"/>
              </a:rPr>
              <a:t>en</a:t>
            </a:r>
            <a:r>
              <a:rPr lang="en-US" sz="1400" dirty="0">
                <a:latin typeface="Arial Narrow" panose="020B0606020202030204" pitchFamily="34" charset="0"/>
              </a:rPr>
              <a:t>. In: methods, data, analyses 17.2. Artwork Size:42 Pages Publisher: methods, data, analyses, 42 Pages. </a:t>
            </a:r>
            <a:r>
              <a:rPr lang="en-US" sz="1400" dirty="0" err="1">
                <a:latin typeface="Arial Narrow" panose="020B0606020202030204" pitchFamily="34" charset="0"/>
              </a:rPr>
              <a:t>doi</a:t>
            </a:r>
            <a:r>
              <a:rPr lang="en-US" sz="1400" dirty="0">
                <a:latin typeface="Arial Narrow" panose="020B0606020202030204" pitchFamily="34" charset="0"/>
              </a:rPr>
              <a:t>: 10.12758/MDA.2022. 15.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8808B61-6DBB-4CC7-863A-F0C61C406D2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3F3176-FAD1-40D3-9B27-AE3C78637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9728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97DACE-8BB7-4936-972B-5D28892D31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704642"/>
          </a:xfrm>
        </p:spPr>
        <p:txBody>
          <a:bodyPr/>
          <a:lstStyle/>
          <a:p>
            <a:r>
              <a:rPr lang="en-US" dirty="0"/>
              <a:t>Challenges for Facebook Surveys in Sub-Saharan Afric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BFACA07-3DBE-4362-8BAD-DA9D98CDFD5E}"/>
              </a:ext>
            </a:extLst>
          </p:cNvPr>
          <p:cNvSpPr txBox="1"/>
          <p:nvPr/>
        </p:nvSpPr>
        <p:spPr>
          <a:xfrm>
            <a:off x="1207818" y="2662427"/>
            <a:ext cx="6986016" cy="293529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b="1" dirty="0"/>
              <a:t>Digital gender gap: </a:t>
            </a:r>
            <a:r>
              <a:rPr lang="en-US" dirty="0"/>
              <a:t>Higher Facebook user rates for men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</a:t>
            </a:r>
            <a:r>
              <a:rPr lang="en-US" sz="1600" dirty="0" err="1">
                <a:solidFill>
                  <a:schemeClr val="bg1">
                    <a:lumMod val="65000"/>
                  </a:schemeClr>
                </a:solidFill>
              </a:rPr>
              <a:t>Fatehkia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 et al., 2018)</a:t>
            </a:r>
            <a:endParaRPr lang="en-US" b="1" dirty="0"/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b="1" dirty="0"/>
              <a:t>Representativeness: </a:t>
            </a:r>
            <a:r>
              <a:rPr lang="en-US" dirty="0"/>
              <a:t>Overrepresentation of men, younger, urban, and highly educated users compared to offline surveys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Rosenzweig et al., 2020; Rosenzweig et al., 2021; Pham et al., 2019; </a:t>
            </a:r>
            <a:r>
              <a:rPr lang="en-US" sz="1600" dirty="0" err="1">
                <a:solidFill>
                  <a:schemeClr val="bg1">
                    <a:lumMod val="65000"/>
                  </a:schemeClr>
                </a:solidFill>
              </a:rPr>
              <a:t>McGeer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 &amp; </a:t>
            </a:r>
            <a:r>
              <a:rPr lang="en-US" sz="1600" dirty="0" err="1">
                <a:solidFill>
                  <a:schemeClr val="bg1">
                    <a:lumMod val="65000"/>
                  </a:schemeClr>
                </a:solidFill>
              </a:rPr>
              <a:t>Stremlau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, 2024)</a:t>
            </a:r>
          </a:p>
          <a:p>
            <a:pPr marL="285750" indent="-28575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b="1" dirty="0"/>
              <a:t>Regional coverage: </a:t>
            </a:r>
            <a:r>
              <a:rPr lang="en-US" dirty="0"/>
              <a:t>Urban users show higher participation and  completion rates than rural user 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(Pham et al., 2019; </a:t>
            </a:r>
            <a:r>
              <a:rPr lang="en-US" sz="1600" dirty="0" err="1">
                <a:solidFill>
                  <a:schemeClr val="bg1">
                    <a:lumMod val="65000"/>
                  </a:schemeClr>
                </a:solidFill>
              </a:rPr>
              <a:t>Soehl</a:t>
            </a:r>
            <a:r>
              <a:rPr lang="en-US" sz="1600" dirty="0">
                <a:solidFill>
                  <a:schemeClr val="bg1">
                    <a:lumMod val="65000"/>
                  </a:schemeClr>
                </a:solidFill>
              </a:rPr>
              <a:t> et al., 2024)</a:t>
            </a:r>
          </a:p>
        </p:txBody>
      </p:sp>
      <p:pic>
        <p:nvPicPr>
          <p:cNvPr id="9" name="Graphic 8" descr="Africa">
            <a:extLst>
              <a:ext uri="{FF2B5EF4-FFF2-40B4-BE49-F238E27FC236}">
                <a16:creationId xmlns:a16="http://schemas.microsoft.com/office/drawing/2014/main" id="{401A8EAB-8117-4EFD-A06D-5344BD0FA45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10144" y="2290530"/>
            <a:ext cx="3461718" cy="3461718"/>
          </a:xfrm>
          <a:prstGeom prst="rect">
            <a:avLst/>
          </a:prstGeom>
        </p:spPr>
      </p:pic>
      <p:pic>
        <p:nvPicPr>
          <p:cNvPr id="11" name="Graphic 10" descr="Wireless">
            <a:extLst>
              <a:ext uri="{FF2B5EF4-FFF2-40B4-BE49-F238E27FC236}">
                <a16:creationId xmlns:a16="http://schemas.microsoft.com/office/drawing/2014/main" id="{B03C4364-430F-4189-833B-FCEFCB8888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98864" y="2734056"/>
            <a:ext cx="1389888" cy="1389888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C8CFB-61E4-479E-8BD9-07BBB2482D6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E2E858-5BBD-49A1-86B0-7B3104A5C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8178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629CBE-FCBD-4978-A3FB-D51157656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743346"/>
          </a:xfrm>
        </p:spPr>
        <p:txBody>
          <a:bodyPr/>
          <a:lstStyle/>
          <a:p>
            <a:r>
              <a:rPr lang="en-US" dirty="0"/>
              <a:t>Project overview: Senegal demographic survey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F4C4D2-F057-4760-8E71-BC9A1255A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84512" y="2246247"/>
            <a:ext cx="2362530" cy="32484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2456661-DF93-4A43-A3E6-636EA2C2E7C4}"/>
              </a:ext>
            </a:extLst>
          </p:cNvPr>
          <p:cNvSpPr txBox="1"/>
          <p:nvPr/>
        </p:nvSpPr>
        <p:spPr>
          <a:xfrm>
            <a:off x="1183361" y="2246247"/>
            <a:ext cx="7071639" cy="37902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just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Recruitment through paid advertisements on Facebook </a:t>
            </a:r>
          </a:p>
          <a:p>
            <a:pPr marL="285750" indent="-285750" algn="just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Target population: 18+ Facebook population in Senegal</a:t>
            </a:r>
          </a:p>
          <a:p>
            <a:pPr marL="285750" indent="-285750" algn="just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Online survey on number of children of respondents and network members  </a:t>
            </a:r>
          </a:p>
          <a:p>
            <a:pPr marL="285750" indent="-285750" algn="just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Goal: Estimate fertility indicator</a:t>
            </a:r>
          </a:p>
          <a:p>
            <a:pPr marL="285750" indent="-285750" algn="just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Comparison data: Population representative data from the 2023 Demographic Health Survey (DHS) 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CFB6CD-B03E-4297-B42B-CE7500AF0EC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AC1316-A188-4D59-A704-0404A87AB1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39089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71A06A-2D59-4B4C-A264-DA5223923A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entive pretest in the capital Daka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121265-A6D6-46ED-8743-D9FDB8442BF8}"/>
              </a:ext>
            </a:extLst>
          </p:cNvPr>
          <p:cNvSpPr txBox="1"/>
          <p:nvPr/>
        </p:nvSpPr>
        <p:spPr>
          <a:xfrm>
            <a:off x="1154773" y="2264738"/>
            <a:ext cx="3864901" cy="353943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 algn="just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Online survey recruited through advertisements placed on Facebook</a:t>
            </a:r>
          </a:p>
          <a:p>
            <a:pPr marL="285750" indent="-285750" algn="just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Displayed to men and women above 18 years in Dakar, Senegal</a:t>
            </a:r>
          </a:p>
          <a:p>
            <a:pPr marL="285750" indent="-285750" algn="just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Advertisement goal: link clicks</a:t>
            </a:r>
          </a:p>
          <a:p>
            <a:pPr marL="285750" indent="-285750" algn="just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15-02.-18.02.24 (4 days)</a:t>
            </a:r>
          </a:p>
          <a:p>
            <a:pPr marL="285750" indent="-285750" algn="just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358€ spent per campaign </a:t>
            </a:r>
          </a:p>
          <a:p>
            <a:pPr marL="285750" indent="-285750" algn="just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Incentive: Lottery for mobile phone credi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8BB0EC-A6A9-4819-96DA-A105ED89DE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2499" y="3020579"/>
            <a:ext cx="2077411" cy="299896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3AC70EB-81AB-4240-B1FF-A76DE8D1AF91}"/>
              </a:ext>
            </a:extLst>
          </p:cNvPr>
          <p:cNvSpPr/>
          <p:nvPr/>
        </p:nvSpPr>
        <p:spPr>
          <a:xfrm>
            <a:off x="6877017" y="2180397"/>
            <a:ext cx="30509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just"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dirty="0"/>
              <a:t>Two identical campaigns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8902996-DAEF-479F-8055-431B14552103}"/>
              </a:ext>
            </a:extLst>
          </p:cNvPr>
          <p:cNvSpPr txBox="1"/>
          <p:nvPr/>
        </p:nvSpPr>
        <p:spPr>
          <a:xfrm>
            <a:off x="6148355" y="2732748"/>
            <a:ext cx="1457325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With incentive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8C12B8-BFDD-4CE1-B126-0D7D293900A7}"/>
              </a:ext>
            </a:extLst>
          </p:cNvPr>
          <p:cNvSpPr txBox="1"/>
          <p:nvPr/>
        </p:nvSpPr>
        <p:spPr>
          <a:xfrm>
            <a:off x="8734361" y="2752685"/>
            <a:ext cx="1916717" cy="26789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r>
              <a:rPr lang="en-US" sz="1600" dirty="0"/>
              <a:t>Without incentive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34C5EB1-00B2-4728-9AF0-18E18EB72E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44684" y="3020579"/>
            <a:ext cx="2049827" cy="2998969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7C498C8D-C78D-460D-97DC-2FBB17B30312}"/>
              </a:ext>
            </a:extLst>
          </p:cNvPr>
          <p:cNvSpPr txBox="1"/>
          <p:nvPr/>
        </p:nvSpPr>
        <p:spPr>
          <a:xfrm>
            <a:off x="6019800" y="3429000"/>
            <a:ext cx="1895475" cy="37097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A61EEB-4A7B-4A9C-B2D1-2D35E1A0F626}"/>
              </a:ext>
            </a:extLst>
          </p:cNvPr>
          <p:cNvSpPr txBox="1"/>
          <p:nvPr/>
        </p:nvSpPr>
        <p:spPr>
          <a:xfrm>
            <a:off x="8644685" y="3429000"/>
            <a:ext cx="1972650" cy="370979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 algn="l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</a:pPr>
            <a:endParaRPr lang="en-US" sz="1600" dirty="0" err="1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9B2D3E-3C97-4952-A611-F36FB3B3F0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97F54F-E7F5-4B25-B2C4-5D91AB14CF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1320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6FAF05-0991-45B8-A886-05BA7F0E80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entive pretest in the capital Dakar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4E6B3302-1F4A-476D-BCF3-DFA2AAE5CF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3433471"/>
              </p:ext>
            </p:extLst>
          </p:nvPr>
        </p:nvGraphicFramePr>
        <p:xfrm>
          <a:off x="1277839" y="2345435"/>
          <a:ext cx="9287184" cy="3260471"/>
        </p:xfrm>
        <a:graphic>
          <a:graphicData uri="http://schemas.openxmlformats.org/drawingml/2006/table">
            <a:tbl>
              <a:tblPr firstRow="1" firstCol="1" bandRow="1">
                <a:tableStyleId>{C083E6E3-FA7D-4D7B-A595-EF9225AFEA82}</a:tableStyleId>
              </a:tblPr>
              <a:tblGrid>
                <a:gridCol w="3100873">
                  <a:extLst>
                    <a:ext uri="{9D8B030D-6E8A-4147-A177-3AD203B41FA5}">
                      <a16:colId xmlns:a16="http://schemas.microsoft.com/office/drawing/2014/main" val="3781555578"/>
                    </a:ext>
                  </a:extLst>
                </a:gridCol>
                <a:gridCol w="3059151">
                  <a:extLst>
                    <a:ext uri="{9D8B030D-6E8A-4147-A177-3AD203B41FA5}">
                      <a16:colId xmlns:a16="http://schemas.microsoft.com/office/drawing/2014/main" val="2259805724"/>
                    </a:ext>
                  </a:extLst>
                </a:gridCol>
                <a:gridCol w="3127160">
                  <a:extLst>
                    <a:ext uri="{9D8B030D-6E8A-4147-A177-3AD203B41FA5}">
                      <a16:colId xmlns:a16="http://schemas.microsoft.com/office/drawing/2014/main" val="314689560"/>
                    </a:ext>
                  </a:extLst>
                </a:gridCol>
              </a:tblGrid>
              <a:tr h="7338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 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Incentive Campaign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No Incentive Campaign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33119202"/>
                  </a:ext>
                </a:extLst>
              </a:tr>
              <a:tr h="22928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Impressions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.156.453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.239.029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extLst>
                  <a:ext uri="{0D108BD9-81ED-4DB2-BD59-A6C34878D82A}">
                    <a16:rowId xmlns:a16="http://schemas.microsoft.com/office/drawing/2014/main" val="317556256"/>
                  </a:ext>
                </a:extLst>
              </a:tr>
              <a:tr h="15133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Reach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595.913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603.380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extLst>
                  <a:ext uri="{0D108BD9-81ED-4DB2-BD59-A6C34878D82A}">
                    <a16:rowId xmlns:a16="http://schemas.microsoft.com/office/drawing/2014/main" val="2269976770"/>
                  </a:ext>
                </a:extLst>
              </a:tr>
              <a:tr h="22928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Link clicks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0.179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0.497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extLst>
                  <a:ext uri="{0D108BD9-81ED-4DB2-BD59-A6C34878D82A}">
                    <a16:rowId xmlns:a16="http://schemas.microsoft.com/office/drawing/2014/main" val="3976363410"/>
                  </a:ext>
                </a:extLst>
              </a:tr>
              <a:tr h="172463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Unique link clicks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9.288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9.696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extLst>
                  <a:ext uri="{0D108BD9-81ED-4DB2-BD59-A6C34878D82A}">
                    <a16:rowId xmlns:a16="http://schemas.microsoft.com/office/drawing/2014/main" val="2319296795"/>
                  </a:ext>
                </a:extLst>
              </a:tr>
              <a:tr h="67942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Started interviews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70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32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extLst>
                  <a:ext uri="{0D108BD9-81ED-4DB2-BD59-A6C34878D82A}">
                    <a16:rowId xmlns:a16="http://schemas.microsoft.com/office/drawing/2014/main" val="3583272528"/>
                  </a:ext>
                </a:extLst>
              </a:tr>
              <a:tr h="17297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Start rate 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.83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  0.21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extLst>
                  <a:ext uri="{0D108BD9-81ED-4DB2-BD59-A6C34878D82A}">
                    <a16:rowId xmlns:a16="http://schemas.microsoft.com/office/drawing/2014/main" val="1970094102"/>
                  </a:ext>
                </a:extLst>
              </a:tr>
              <a:tr h="125600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Completed interviews 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37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20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extLst>
                  <a:ext uri="{0D108BD9-81ED-4DB2-BD59-A6C34878D82A}">
                    <a16:rowId xmlns:a16="http://schemas.microsoft.com/office/drawing/2014/main" val="3538062925"/>
                  </a:ext>
                </a:extLst>
              </a:tr>
              <a:tr h="25812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Completion rate 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80.59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62.5%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27730" marR="27730" marT="0" marB="0" anchor="ctr"/>
                </a:tc>
                <a:extLst>
                  <a:ext uri="{0D108BD9-81ED-4DB2-BD59-A6C34878D82A}">
                    <a16:rowId xmlns:a16="http://schemas.microsoft.com/office/drawing/2014/main" val="2310529948"/>
                  </a:ext>
                </a:extLst>
              </a:tr>
              <a:tr h="258126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Cost per completed interview</a:t>
                      </a:r>
                      <a:endParaRPr lang="en-US" sz="1800" b="0" dirty="0">
                        <a:effectLst/>
                        <a:latin typeface="+mn-lt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6129" marR="36129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2.62</a:t>
                      </a:r>
                      <a:endParaRPr lang="en-US" sz="1800" dirty="0">
                        <a:effectLst/>
                        <a:latin typeface="+mn-lt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6129" marR="36129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17.93</a:t>
                      </a:r>
                      <a:endParaRPr lang="en-US" sz="1800" dirty="0">
                        <a:effectLst/>
                        <a:latin typeface="+mn-lt"/>
                        <a:ea typeface="SimSun" panose="02010600030101010101" pitchFamily="2" charset="-122"/>
                        <a:cs typeface="Times New Roman" panose="02020603050405020304" pitchFamily="18" charset="0"/>
                      </a:endParaRPr>
                    </a:p>
                  </a:txBody>
                  <a:tcPr marL="36129" marR="36129" marT="0" marB="0" anchor="ctr"/>
                </a:tc>
                <a:extLst>
                  <a:ext uri="{0D108BD9-81ED-4DB2-BD59-A6C34878D82A}">
                    <a16:rowId xmlns:a16="http://schemas.microsoft.com/office/drawing/2014/main" val="590232215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B29B9A26-4DAA-485E-9826-FC570540D3CE}"/>
              </a:ext>
            </a:extLst>
          </p:cNvPr>
          <p:cNvSpPr/>
          <p:nvPr/>
        </p:nvSpPr>
        <p:spPr>
          <a:xfrm>
            <a:off x="1277839" y="4423144"/>
            <a:ext cx="9287184" cy="1182762"/>
          </a:xfrm>
          <a:prstGeom prst="rect">
            <a:avLst/>
          </a:prstGeom>
          <a:noFill/>
          <a:ln w="38100" cmpd="sng">
            <a:solidFill>
              <a:schemeClr val="tx2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3B79DD-16A4-49A1-B0EC-AF9B4344B32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FEAB13-FCED-4093-B5B5-4F21A2B9AC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56148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629CBE-FCBD-4978-A3FB-D511576561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743346"/>
          </a:xfrm>
        </p:spPr>
        <p:txBody>
          <a:bodyPr/>
          <a:lstStyle/>
          <a:p>
            <a:r>
              <a:rPr lang="en-US" dirty="0"/>
              <a:t>Final Data collection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FF4C4D2-F057-4760-8E71-BC9A1255A4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52981" y="2478679"/>
            <a:ext cx="2362530" cy="324847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2456661-DF93-4A43-A3E6-636EA2C2E7C4}"/>
              </a:ext>
            </a:extLst>
          </p:cNvPr>
          <p:cNvSpPr txBox="1"/>
          <p:nvPr/>
        </p:nvSpPr>
        <p:spPr>
          <a:xfrm>
            <a:off x="1172729" y="2130871"/>
            <a:ext cx="7071639" cy="394409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285750" indent="-285750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Recruited through Facebook advertisements in Senegal in October 2024</a:t>
            </a:r>
          </a:p>
          <a:p>
            <a:pPr marL="285750" indent="-285750" algn="l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Campaign goal: Traffic/ Link clicks</a:t>
            </a:r>
          </a:p>
          <a:p>
            <a:pPr marL="285750" indent="-285750" algn="l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Targeting by region, gender, age (where possible)</a:t>
            </a:r>
          </a:p>
          <a:p>
            <a:pPr marL="285750" indent="-285750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Budget: 4.584 € </a:t>
            </a:r>
          </a:p>
          <a:p>
            <a:pPr marL="285750" indent="-285750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Incentive: Lottery for mobile phone credit </a:t>
            </a:r>
          </a:p>
          <a:p>
            <a:pPr marL="285750" indent="-285750">
              <a:lnSpc>
                <a:spcPct val="150000"/>
              </a:lnSpc>
              <a:spcBef>
                <a:spcPts val="1150"/>
              </a:spcBef>
              <a:buFont typeface="Wingdings" panose="05000000000000000000" pitchFamily="2" charset="2"/>
              <a:buChar char="Ø"/>
            </a:pPr>
            <a:r>
              <a:rPr lang="en-US" sz="2000" dirty="0"/>
              <a:t>5.52 € per started interview (</a:t>
            </a:r>
            <a:r>
              <a:rPr lang="en-US" sz="2000" dirty="0" err="1"/>
              <a:t>n</a:t>
            </a:r>
            <a:r>
              <a:rPr lang="en-US" sz="2000" baseline="-25000" dirty="0" err="1"/>
              <a:t>Respondents</a:t>
            </a:r>
            <a:r>
              <a:rPr lang="en-US" sz="2000" dirty="0"/>
              <a:t>= 830)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0F4E0E-B932-4727-B6DA-E769D35F11C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DFECEA-BE4C-46EF-966F-62595F074E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29679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5CB387-D234-4030-BB19-DBBF7CDC2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505175"/>
          </a:xfrm>
        </p:spPr>
        <p:txBody>
          <a:bodyPr/>
          <a:lstStyle/>
          <a:p>
            <a:r>
              <a:rPr lang="en-US" dirty="0"/>
              <a:t>Facebook Campaign ad set targeting</a:t>
            </a:r>
          </a:p>
        </p:txBody>
      </p:sp>
      <p:sp>
        <p:nvSpPr>
          <p:cNvPr id="4" name="AutoShape 2" descr="http://127.0.0.1:17479/graphics/53137956-2d3b-46ff-9faa-359a1ef17b05.png">
            <a:extLst>
              <a:ext uri="{FF2B5EF4-FFF2-40B4-BE49-F238E27FC236}">
                <a16:creationId xmlns:a16="http://schemas.microsoft.com/office/drawing/2014/main" id="{7C92B0B8-2FE9-4FCC-98FE-F428A77AAC6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657600" y="3276600"/>
            <a:ext cx="2590800" cy="259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42BD68D-4C95-473F-BCA9-A9DF6B7542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246" y="905538"/>
            <a:ext cx="7819861" cy="5817702"/>
          </a:xfrm>
          <a:prstGeom prst="rect">
            <a:avLst/>
          </a:prstGeom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4430641A-86E6-432B-98BB-F21CE7DD57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5406983"/>
              </p:ext>
            </p:extLst>
          </p:nvPr>
        </p:nvGraphicFramePr>
        <p:xfrm>
          <a:off x="7240772" y="5130338"/>
          <a:ext cx="4003491" cy="914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22475">
                  <a:extLst>
                    <a:ext uri="{9D8B030D-6E8A-4147-A177-3AD203B41FA5}">
                      <a16:colId xmlns:a16="http://schemas.microsoft.com/office/drawing/2014/main" val="1535611034"/>
                    </a:ext>
                  </a:extLst>
                </a:gridCol>
                <a:gridCol w="2281016">
                  <a:extLst>
                    <a:ext uri="{9D8B030D-6E8A-4147-A177-3AD203B41FA5}">
                      <a16:colId xmlns:a16="http://schemas.microsoft.com/office/drawing/2014/main" val="1803238930"/>
                    </a:ext>
                  </a:extLst>
                </a:gridCol>
              </a:tblGrid>
              <a:tr h="478454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Two age groups</a:t>
                      </a:r>
                      <a:endParaRPr lang="en-US" sz="1600" b="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18-33; 34-49 (women)</a:t>
                      </a:r>
                    </a:p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18-36; 37-54 (men)</a:t>
                      </a:r>
                      <a:endParaRPr lang="en-US" sz="1600" b="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923056"/>
                  </a:ext>
                </a:extLst>
              </a:tr>
              <a:tr h="273418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Three age group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 Narrow" panose="020B0606020202030204" pitchFamily="34" charset="0"/>
                        </a:rPr>
                        <a:t>18-29; 31-41; 42-49 (5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453366"/>
                  </a:ext>
                </a:extLst>
              </a:tr>
            </a:tbl>
          </a:graphicData>
        </a:graphic>
      </p:graphicFrame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D3FF87-9B7B-420E-9E08-9D237BD6653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/>
              <a:t>Max Planck Institute for demographic research | Jessica Donzowa |DEMED Webinar| 20.05.2025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F25D37-EAE9-4EED-9FAB-077D8715C3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30B5760-E5E7-4599-8A10-15F616D96D6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39595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-MPIDR-TemplateTalks.pptx" id="{C0D2E4FB-BA3E-4262-AB47-9ED1F735E32C}" vid="{7F99E8A2-E5AC-4FBE-B771-06B5D77FFF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1-MPIDR-TemplateTalks</Template>
  <TotalTime>0</TotalTime>
  <Words>2941</Words>
  <Application>Microsoft Macintosh PowerPoint</Application>
  <PresentationFormat>Widescreen</PresentationFormat>
  <Paragraphs>445</Paragraphs>
  <Slides>3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0" baseType="lpstr">
      <vt:lpstr>.SF NS Symbols Regular</vt:lpstr>
      <vt:lpstr>Arial</vt:lpstr>
      <vt:lpstr>Arial Narrow</vt:lpstr>
      <vt:lpstr>Calibri</vt:lpstr>
      <vt:lpstr>Symbol</vt:lpstr>
      <vt:lpstr>Wingdings</vt:lpstr>
      <vt:lpstr>Wingdings 3</vt:lpstr>
      <vt:lpstr>MPG_2020</vt:lpstr>
      <vt:lpstr>think-cell Folie</vt:lpstr>
      <vt:lpstr>The Senegal Demographic Survey- Insights from a Facebook recruited survey in Senegal </vt:lpstr>
      <vt:lpstr>structure</vt:lpstr>
      <vt:lpstr>Data Availability Challenges for Vital Statistics in Sub-Saharan Africa</vt:lpstr>
      <vt:lpstr>Challenges for Facebook Surveys in Sub-Saharan Africa</vt:lpstr>
      <vt:lpstr>Project overview: Senegal demographic survey </vt:lpstr>
      <vt:lpstr>Incentive pretest in the capital Dakar</vt:lpstr>
      <vt:lpstr>Incentive pretest in the capital Dakar</vt:lpstr>
      <vt:lpstr>Final Data collection</vt:lpstr>
      <vt:lpstr>Facebook Campaign ad set targeting</vt:lpstr>
      <vt:lpstr>Campaign performance and survey recruitment</vt:lpstr>
      <vt:lpstr>Meta data- Campaign performance by region </vt:lpstr>
      <vt:lpstr>Meta data- Device for link click by region  </vt:lpstr>
      <vt:lpstr>Campaign performance: Targeting accuracy </vt:lpstr>
      <vt:lpstr>Demographic composition of the sample </vt:lpstr>
      <vt:lpstr>Research questions: Regional variation </vt:lpstr>
      <vt:lpstr>Starting ERROR: Gender</vt:lpstr>
      <vt:lpstr>Starting ERROR: Region </vt:lpstr>
      <vt:lpstr>Unit Dropout error </vt:lpstr>
      <vt:lpstr>Item non-response error</vt:lpstr>
      <vt:lpstr>Extending social media Survey Coverage: Network Reporting</vt:lpstr>
      <vt:lpstr>Extending social media Survey Coverage: Network Reporting</vt:lpstr>
      <vt:lpstr>Network reporting in our survey </vt:lpstr>
      <vt:lpstr>Network structure of dataset </vt:lpstr>
      <vt:lpstr>Comparison of the composition of our sample to the Demographic Health survey</vt:lpstr>
      <vt:lpstr>Comparison of the composition of our sample to the Demographic Health survey</vt:lpstr>
      <vt:lpstr>Comparison of the composition of our sample to the Demographic Health survey</vt:lpstr>
      <vt:lpstr>Age specific fertility rates for women compared to the Demographic Health survey</vt:lpstr>
      <vt:lpstr>Take aways</vt:lpstr>
      <vt:lpstr>Thank you for your attention!</vt:lpstr>
      <vt:lpstr>References  </vt:lpstr>
      <vt:lpstr>references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BORATORY_Option A (ABBREVIATION – IF APPLICABLE)</dc:title>
  <dc:creator>Donzowa, Jessica</dc:creator>
  <cp:lastModifiedBy>Aykut Ozturk</cp:lastModifiedBy>
  <cp:revision>356</cp:revision>
  <dcterms:created xsi:type="dcterms:W3CDTF">2023-06-21T08:46:40Z</dcterms:created>
  <dcterms:modified xsi:type="dcterms:W3CDTF">2025-05-22T09:00:28Z</dcterms:modified>
</cp:coreProperties>
</file>